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91" r:id="rId1"/>
  </p:sldMasterIdLst>
  <p:notesMasterIdLst>
    <p:notesMasterId r:id="rId10"/>
  </p:notesMasterIdLst>
  <p:handoutMasterIdLst>
    <p:handoutMasterId r:id="rId11"/>
  </p:handoutMasterIdLst>
  <p:sldIdLst>
    <p:sldId id="285" r:id="rId2"/>
    <p:sldId id="309" r:id="rId3"/>
    <p:sldId id="303" r:id="rId4"/>
    <p:sldId id="312" r:id="rId5"/>
    <p:sldId id="313" r:id="rId6"/>
    <p:sldId id="308" r:id="rId7"/>
    <p:sldId id="297" r:id="rId8"/>
    <p:sldId id="292" r:id="rId9"/>
  </p:sldIdLst>
  <p:sldSz cx="9144000" cy="6858000" type="screen4x3"/>
  <p:notesSz cx="6797675" cy="9928225"/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2200" b="1" kern="1200">
        <a:solidFill>
          <a:srgbClr val="999999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200" b="1" kern="1200">
        <a:solidFill>
          <a:srgbClr val="999999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200" b="1" kern="1200">
        <a:solidFill>
          <a:srgbClr val="999999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200" b="1" kern="1200">
        <a:solidFill>
          <a:srgbClr val="999999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200" b="1" kern="1200">
        <a:solidFill>
          <a:srgbClr val="999999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200" b="1" kern="1200">
        <a:solidFill>
          <a:srgbClr val="999999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200" b="1" kern="1200">
        <a:solidFill>
          <a:srgbClr val="999999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200" b="1" kern="1200">
        <a:solidFill>
          <a:srgbClr val="999999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200" b="1" kern="1200">
        <a:solidFill>
          <a:srgbClr val="999999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35">
          <p15:clr>
            <a:srgbClr val="A4A3A4"/>
          </p15:clr>
        </p15:guide>
        <p15:guide id="2" pos="288">
          <p15:clr>
            <a:srgbClr val="A4A3A4"/>
          </p15:clr>
        </p15:guide>
        <p15:guide id="3" pos="726">
          <p15:clr>
            <a:srgbClr val="A4A3A4"/>
          </p15:clr>
        </p15:guide>
        <p15:guide id="4" pos="5029">
          <p15:clr>
            <a:srgbClr val="A4A3A4"/>
          </p15:clr>
        </p15:guide>
        <p15:guide id="5" pos="431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242"/>
    <a:srgbClr val="C80F0F"/>
    <a:srgbClr val="6E6452"/>
    <a:srgbClr val="E5DBA1"/>
    <a:srgbClr val="BABA93"/>
    <a:srgbClr val="BABB93"/>
    <a:srgbClr val="DEDEAF"/>
    <a:srgbClr val="999999"/>
    <a:srgbClr val="D9D9D9"/>
    <a:srgbClr val="CC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94" autoAdjust="0"/>
    <p:restoredTop sz="67914" autoAdjust="0"/>
  </p:normalViewPr>
  <p:slideViewPr>
    <p:cSldViewPr snapToGrid="0">
      <p:cViewPr varScale="1">
        <p:scale>
          <a:sx n="93" d="100"/>
          <a:sy n="93" d="100"/>
        </p:scale>
        <p:origin x="2142" y="78"/>
      </p:cViewPr>
      <p:guideLst>
        <p:guide orient="horz" pos="3935"/>
        <p:guide pos="288"/>
        <p:guide pos="726"/>
        <p:guide pos="5029"/>
        <p:guide pos="431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-2970" y="-90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5659" cy="4960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1" tIns="45501" rIns="91001" bIns="45501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>
              <a:latin typeface="Arial Narrow" pitchFamily="34" charset="0"/>
            </a:endParaRPr>
          </a:p>
        </p:txBody>
      </p:sp>
      <p:sp>
        <p:nvSpPr>
          <p:cNvPr id="6656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017" y="0"/>
            <a:ext cx="2945659" cy="4960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1" tIns="45501" rIns="91001" bIns="45501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>
              <a:latin typeface="Arial Narrow" pitchFamily="34" charset="0"/>
            </a:endParaRPr>
          </a:p>
        </p:txBody>
      </p:sp>
      <p:sp>
        <p:nvSpPr>
          <p:cNvPr id="6656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2210"/>
            <a:ext cx="2945659" cy="4960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1" tIns="45501" rIns="91001" bIns="45501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Times" charset="0"/>
              </a:defRPr>
            </a:lvl1pPr>
          </a:lstStyle>
          <a:p>
            <a:endParaRPr lang="de-DE">
              <a:latin typeface="Arial Narrow" pitchFamily="34" charset="0"/>
            </a:endParaRPr>
          </a:p>
        </p:txBody>
      </p:sp>
      <p:sp>
        <p:nvSpPr>
          <p:cNvPr id="665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017" y="9432210"/>
            <a:ext cx="2945659" cy="4960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1" tIns="45501" rIns="91001" bIns="45501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Times" charset="0"/>
              </a:defRPr>
            </a:lvl1pPr>
          </a:lstStyle>
          <a:p>
            <a:fld id="{47F930EC-4FD0-431B-BB9B-47DE359CDF6F}" type="slidenum">
              <a:rPr lang="de-DE">
                <a:latin typeface="Arial Narrow" pitchFamily="34" charset="0"/>
              </a:rPr>
              <a:pPr/>
              <a:t>‹#›</a:t>
            </a:fld>
            <a:endParaRPr lang="de-DE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42276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5659" cy="4960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1" tIns="45501" rIns="91001" bIns="45501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Arial Narrow" pitchFamily="34" charset="0"/>
              </a:defRPr>
            </a:lvl1pPr>
          </a:lstStyle>
          <a:p>
            <a:endParaRPr lang="de-DE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017" y="0"/>
            <a:ext cx="2945659" cy="4960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1" tIns="45501" rIns="91001" bIns="45501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Arial Narrow" pitchFamily="34" charset="0"/>
              </a:defRPr>
            </a:lvl1pPr>
          </a:lstStyle>
          <a:p>
            <a:endParaRPr lang="de-DE"/>
          </a:p>
        </p:txBody>
      </p:sp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357" y="4716105"/>
            <a:ext cx="4984962" cy="44673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1" tIns="45501" rIns="91001" bIns="455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Klicken Sie, um die Formate des Vorlagentextes zu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2210"/>
            <a:ext cx="2945659" cy="4960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1" tIns="45501" rIns="91001" bIns="45501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Arial Narrow" pitchFamily="34" charset="0"/>
              </a:defRPr>
            </a:lvl1pPr>
          </a:lstStyle>
          <a:p>
            <a:endParaRPr lang="de-DE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017" y="9432210"/>
            <a:ext cx="2945659" cy="4960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01" tIns="45501" rIns="91001" bIns="45501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Arial Narrow" pitchFamily="34" charset="0"/>
              </a:defRPr>
            </a:lvl1pPr>
          </a:lstStyle>
          <a:p>
            <a:fld id="{276F4F92-661F-4424-ADED-7D3829A4203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16004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Narrow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Narrow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Narrow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Narrow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Narrow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noProof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6F4F92-661F-4424-ADED-7D3829A4203F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04154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 smtClean="0"/>
              <a:t>Background of NCA in Namib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smtClean="0">
                <a:solidFill>
                  <a:schemeClr val="tx1"/>
                </a:solidFill>
              </a:rPr>
              <a:t>The program on Natural Resource Accounting started in 199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smtClean="0">
                <a:solidFill>
                  <a:schemeClr val="tx1"/>
                </a:solidFill>
              </a:rPr>
              <a:t>The program was institutionalising Environmental Economic accounting under the sponsorship of SIDA and USAI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smtClean="0">
                <a:solidFill>
                  <a:schemeClr val="tx1"/>
                </a:solidFill>
              </a:rPr>
              <a:t>Initial pilot accounts were developed on water, fisheries, energy, mineral, forestry, livestock, land and wildlif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smtClean="0">
                <a:solidFill>
                  <a:schemeClr val="tx1"/>
                </a:solidFill>
              </a:rPr>
              <a:t>NCA followed a decentralization approach; i.e. Water accounts were transferred to Ministry of Agriculture, Water and Forest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smtClean="0">
                <a:solidFill>
                  <a:schemeClr val="tx1"/>
                </a:solidFill>
              </a:rPr>
              <a:t>In 2005, the program was integrated into the Ministry of Environment and Tourism after the donor funding end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dirty="0" smtClean="0"/>
              <a:t>No account</a:t>
            </a:r>
            <a:r>
              <a:rPr lang="en-ZA" baseline="0" dirty="0" smtClean="0"/>
              <a:t> updated in the last 10 year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6F4F92-661F-4424-ADED-7D3829A4203F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30313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b="1" dirty="0" smtClean="0">
                <a:solidFill>
                  <a:schemeClr val="tx1"/>
                </a:solidFill>
              </a:rPr>
              <a:t>A feasibility study on NCA was carried out in 2015 by the ResMob and MET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de-DE" dirty="0" smtClean="0">
              <a:solidFill>
                <a:schemeClr val="tx1"/>
              </a:solidFill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dirty="0" smtClean="0">
                <a:solidFill>
                  <a:schemeClr val="tx1"/>
                </a:solidFill>
              </a:rPr>
              <a:t>A fast track water account to showcase the possibilities of environemntal-economic accounting based on the SEEA-water freamework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6F4F92-661F-4424-ADED-7D3829A4203F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03828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Green shows how the actual</a:t>
            </a:r>
            <a:r>
              <a:rPr lang="de-DE" baseline="0" dirty="0" smtClean="0"/>
              <a:t> demand should look like, especially with the current drought and water crisis the country is faci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6F4F92-661F-4424-ADED-7D3829A4203F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81422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b="1" dirty="0" smtClean="0"/>
              <a:t>General principles and the scope of cooperation of the MoU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smtClean="0">
                <a:solidFill>
                  <a:schemeClr val="tx1"/>
                </a:solidFill>
              </a:rPr>
              <a:t>The production and dissemination of environmental statistics that is crucial to inform policy formulation and decision mak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smtClean="0">
                <a:solidFill>
                  <a:schemeClr val="tx1"/>
                </a:solidFill>
              </a:rPr>
              <a:t>To account for natural resources in the national accou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smtClean="0">
                <a:solidFill>
                  <a:schemeClr val="tx1"/>
                </a:solidFill>
              </a:rPr>
              <a:t>To collect and disseminate environmental statist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smtClean="0">
                <a:solidFill>
                  <a:schemeClr val="tx1"/>
                </a:solidFill>
              </a:rPr>
              <a:t>To work towards implementing the Aichi targets of the Convention on Biological Diversity, to integrate the value of biodiversity into national accounting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ZA" dirty="0" smtClean="0">
              <a:solidFill>
                <a:schemeClr val="tx1"/>
              </a:solidFill>
            </a:endParaRPr>
          </a:p>
          <a:p>
            <a:r>
              <a:rPr lang="de-DE" dirty="0" smtClean="0">
                <a:solidFill>
                  <a:schemeClr val="tx1"/>
                </a:solidFill>
              </a:rPr>
              <a:t>Working Group aims to:</a:t>
            </a:r>
          </a:p>
          <a:p>
            <a:pPr>
              <a:buFont typeface="+mj-lt"/>
              <a:buAutoNum type="arabicPeriod"/>
            </a:pPr>
            <a:r>
              <a:rPr lang="de-DE" dirty="0" smtClean="0">
                <a:solidFill>
                  <a:schemeClr val="tx1"/>
                </a:solidFill>
              </a:rPr>
              <a:t>Share knowledge and experience in the field of environemtnal accounting</a:t>
            </a:r>
          </a:p>
          <a:p>
            <a:pPr>
              <a:buFont typeface="+mj-lt"/>
              <a:buAutoNum type="arabicPeriod"/>
            </a:pPr>
            <a:r>
              <a:rPr lang="de-DE" dirty="0" smtClean="0">
                <a:solidFill>
                  <a:schemeClr val="tx1"/>
                </a:solidFill>
              </a:rPr>
              <a:t>Update natural accounts and to ensure that the natural accounts are published together with the national accounts</a:t>
            </a:r>
          </a:p>
          <a:p>
            <a:pPr>
              <a:buFont typeface="+mj-lt"/>
              <a:buAutoNum type="arabicPeriod"/>
            </a:pPr>
            <a:r>
              <a:rPr lang="de-DE" dirty="0" smtClean="0">
                <a:solidFill>
                  <a:schemeClr val="tx1"/>
                </a:solidFill>
              </a:rPr>
              <a:t>To ensure the mainstreaming of Natural Capital Accounting into ther respective instititions annual workplans</a:t>
            </a:r>
          </a:p>
          <a:p>
            <a:pPr>
              <a:buFont typeface="+mj-lt"/>
              <a:buAutoNum type="arabicPeriod"/>
            </a:pPr>
            <a:r>
              <a:rPr lang="de-DE" dirty="0" smtClean="0">
                <a:solidFill>
                  <a:schemeClr val="tx1"/>
                </a:solidFill>
              </a:rPr>
              <a:t>Capacity development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ZA" dirty="0" smtClean="0">
              <a:solidFill>
                <a:schemeClr val="tx1"/>
              </a:solidFill>
            </a:endParaRPr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6F4F92-661F-4424-ADED-7D3829A4203F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3902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6F4F92-661F-4424-ADED-7D3829A4203F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97726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09242"/>
                </a:solidFill>
              </a:defRPr>
            </a:lvl1pPr>
          </a:lstStyle>
          <a:p>
            <a:r>
              <a:rPr lang="en-GB" noProof="0" dirty="0" smtClean="0"/>
              <a:t>Click here to add title</a:t>
            </a:r>
            <a:endParaRPr lang="de-DE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862776" y="6581001"/>
            <a:ext cx="3418449" cy="246221"/>
          </a:xfrm>
          <a:prstGeom prst="rect">
            <a:avLst/>
          </a:prstGeom>
        </p:spPr>
        <p:txBody>
          <a:bodyPr/>
          <a:lstStyle>
            <a:lvl1pPr algn="ct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 dirty="0" smtClean="0"/>
              <a:t>Resource Mobilisation for Biodiversity Conservation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E947E50C-0C3D-4A37-8474-F67DD0765397}" type="datetime1">
              <a:rPr lang="en-GB" noProof="0" smtClean="0"/>
              <a:pPr/>
              <a:t>08/12/2017</a:t>
            </a:fld>
            <a:endParaRPr lang="de-DE" noProof="0" dirty="0"/>
          </a:p>
        </p:txBody>
      </p: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1921079"/>
            <a:ext cx="7776000" cy="4334532"/>
          </a:xfrm>
        </p:spPr>
        <p:txBody>
          <a:bodyPr/>
          <a:lstStyle>
            <a:lvl1pPr>
              <a:buClr>
                <a:srgbClr val="009242"/>
              </a:buClr>
              <a:defRPr sz="1800">
                <a:solidFill>
                  <a:schemeClr val="bg2">
                    <a:lumMod val="50000"/>
                  </a:schemeClr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 dirty="0" smtClean="0"/>
              <a:t>First layer</a:t>
            </a:r>
          </a:p>
          <a:p>
            <a:pPr lvl="1"/>
            <a:r>
              <a:rPr lang="en-GB" noProof="0" dirty="0" smtClean="0"/>
              <a:t>Second layer</a:t>
            </a:r>
          </a:p>
          <a:p>
            <a:pPr lvl="2"/>
            <a:r>
              <a:rPr lang="en-GB" noProof="0" dirty="0" smtClean="0"/>
              <a:t>Third layer</a:t>
            </a:r>
          </a:p>
          <a:p>
            <a:pPr lvl="3"/>
            <a:r>
              <a:rPr lang="en-GB" noProof="0" dirty="0" smtClean="0"/>
              <a:t>Fourth layer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91821" y="96895"/>
            <a:ext cx="2593077" cy="8994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530102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Click here to add title</a:t>
            </a:r>
            <a:endParaRPr lang="de-DE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8FE8AF5D-14E7-4A90-98FB-F1C241D9EC78}" type="datetime1">
              <a:rPr lang="en-GB" noProof="0" smtClean="0"/>
              <a:pPr/>
              <a:t>08/12/2017</a:t>
            </a:fld>
            <a:endParaRPr lang="de-DE" noProof="0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1929468"/>
            <a:ext cx="7776000" cy="4326143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en-GB" noProof="0" dirty="0" smtClean="0"/>
              <a:t>Click here to add text</a:t>
            </a:r>
          </a:p>
          <a:p>
            <a:pPr lvl="1"/>
            <a:r>
              <a:rPr lang="en-GB" noProof="0" dirty="0" smtClean="0"/>
              <a:t>Second layer</a:t>
            </a:r>
          </a:p>
          <a:p>
            <a:pPr lvl="2"/>
            <a:r>
              <a:rPr lang="en-GB" noProof="0" dirty="0" smtClean="0"/>
              <a:t>Third layer</a:t>
            </a:r>
          </a:p>
          <a:p>
            <a:pPr lvl="3"/>
            <a:r>
              <a:rPr lang="en-GB" noProof="0" dirty="0" smtClean="0"/>
              <a:t>Fourth layer</a:t>
            </a:r>
          </a:p>
        </p:txBody>
      </p:sp>
      <p:sp>
        <p:nvSpPr>
          <p:cNvPr id="6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862776" y="6581001"/>
            <a:ext cx="3418449" cy="246221"/>
          </a:xfrm>
          <a:prstGeom prst="rect">
            <a:avLst/>
          </a:prstGeom>
        </p:spPr>
        <p:txBody>
          <a:bodyPr/>
          <a:lstStyle>
            <a:lvl1pPr algn="ct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 dirty="0" smtClean="0"/>
              <a:t>Resource Mobilisation for Biodiversity Conserv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58358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 smtClean="0"/>
              <a:t>Click here to add title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601BFC7F-79BC-4792-A632-6D0749BA6A95}" type="datetime1">
              <a:rPr lang="en-GB" noProof="0" smtClean="0"/>
              <a:pPr/>
              <a:t>08/12/2017</a:t>
            </a:fld>
            <a:endParaRPr lang="de-DE" noProof="0" dirty="0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1954635"/>
            <a:ext cx="5760000" cy="430936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en-GB" noProof="0" dirty="0" smtClean="0"/>
              <a:t>Click here to add text</a:t>
            </a:r>
          </a:p>
          <a:p>
            <a:pPr lvl="1"/>
            <a:r>
              <a:rPr lang="en-GB" noProof="0" dirty="0" smtClean="0"/>
              <a:t>Second layer</a:t>
            </a:r>
          </a:p>
          <a:p>
            <a:pPr lvl="2"/>
            <a:r>
              <a:rPr lang="en-GB" noProof="0" dirty="0" smtClean="0"/>
              <a:t>Third layer</a:t>
            </a:r>
          </a:p>
          <a:p>
            <a:pPr lvl="3"/>
            <a:r>
              <a:rPr lang="en-GB" noProof="0" dirty="0" smtClean="0"/>
              <a:t>Fourth layer</a:t>
            </a:r>
          </a:p>
        </p:txBody>
      </p:sp>
      <p:sp>
        <p:nvSpPr>
          <p:cNvPr id="6" name="Bildplatzhalter 2"/>
          <p:cNvSpPr>
            <a:spLocks noGrp="1"/>
          </p:cNvSpPr>
          <p:nvPr>
            <p:ph type="pic" idx="12" hasCustomPrompt="1"/>
          </p:nvPr>
        </p:nvSpPr>
        <p:spPr>
          <a:xfrm>
            <a:off x="6593053" y="1978218"/>
            <a:ext cx="2358000" cy="2052000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GB" noProof="0" dirty="0" smtClean="0"/>
              <a:t>Click on symbol to add image</a:t>
            </a:r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862776" y="6581001"/>
            <a:ext cx="3418449" cy="246221"/>
          </a:xfrm>
          <a:prstGeom prst="rect">
            <a:avLst/>
          </a:prstGeom>
        </p:spPr>
        <p:txBody>
          <a:bodyPr/>
          <a:lstStyle>
            <a:lvl1pPr algn="ct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 dirty="0" smtClean="0"/>
              <a:t>Resource Mobilisation for Biodiversity Conserv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14278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, 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Click here to add title</a:t>
            </a:r>
            <a:endParaRPr lang="de-DE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E38CC2F-9A57-400A-B656-E3B897D76321}" type="datetime1">
              <a:rPr lang="en-GB" noProof="0" smtClean="0"/>
              <a:pPr/>
              <a:t>08/12/2017</a:t>
            </a:fld>
            <a:endParaRPr lang="de-DE" noProof="0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1946246"/>
            <a:ext cx="5760000" cy="4317754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en-GB" noProof="0" dirty="0" smtClean="0"/>
              <a:t>Click here to add text</a:t>
            </a:r>
          </a:p>
          <a:p>
            <a:pPr lvl="1"/>
            <a:r>
              <a:rPr lang="en-GB" noProof="0" dirty="0" smtClean="0"/>
              <a:t>Second layer</a:t>
            </a:r>
          </a:p>
          <a:p>
            <a:pPr lvl="2"/>
            <a:r>
              <a:rPr lang="en-GB" noProof="0" dirty="0" smtClean="0"/>
              <a:t>Third layer</a:t>
            </a:r>
          </a:p>
          <a:p>
            <a:pPr lvl="3"/>
            <a:r>
              <a:rPr lang="en-GB" noProof="0" dirty="0" smtClean="0"/>
              <a:t>Fourth layer</a:t>
            </a:r>
          </a:p>
        </p:txBody>
      </p:sp>
      <p:sp>
        <p:nvSpPr>
          <p:cNvPr id="8" name="Bildplatzhalter 2"/>
          <p:cNvSpPr>
            <a:spLocks noGrp="1"/>
          </p:cNvSpPr>
          <p:nvPr>
            <p:ph type="pic" idx="12" hasCustomPrompt="1"/>
          </p:nvPr>
        </p:nvSpPr>
        <p:spPr>
          <a:xfrm>
            <a:off x="6576275" y="1961440"/>
            <a:ext cx="2358000" cy="3348000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GB" noProof="0" dirty="0" smtClean="0"/>
              <a:t>Click on symbol to add image</a:t>
            </a:r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862776" y="6581001"/>
            <a:ext cx="3418449" cy="246221"/>
          </a:xfrm>
          <a:prstGeom prst="rect">
            <a:avLst/>
          </a:prstGeom>
        </p:spPr>
        <p:txBody>
          <a:bodyPr/>
          <a:lstStyle>
            <a:lvl1pPr algn="ct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 dirty="0" smtClean="0"/>
              <a:t>Resource Mobilisation for Biodiversity Conserv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16267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2 columns, subheadline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84000" y="1483200"/>
            <a:ext cx="7776000" cy="617928"/>
          </a:xfrm>
        </p:spPr>
        <p:txBody>
          <a:bodyPr/>
          <a:lstStyle/>
          <a:p>
            <a:r>
              <a:rPr lang="en-GB" noProof="0" dirty="0" smtClean="0"/>
              <a:t>Click here to add title</a:t>
            </a:r>
            <a:endParaRPr lang="de-DE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787C638-5175-4FBD-B670-515D1C1AEF51}" type="datetime1">
              <a:rPr lang="en-GB" noProof="0" smtClean="0"/>
              <a:pPr/>
              <a:t>08/12/2017</a:t>
            </a:fld>
            <a:endParaRPr lang="de-DE" noProof="0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172749"/>
            <a:ext cx="3780000" cy="4091251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en-GB" noProof="0" dirty="0" smtClean="0"/>
              <a:t>Click here to add text</a:t>
            </a:r>
          </a:p>
          <a:p>
            <a:pPr lvl="1"/>
            <a:r>
              <a:rPr lang="en-GB" noProof="0" dirty="0" smtClean="0"/>
              <a:t>Second layer</a:t>
            </a:r>
          </a:p>
          <a:p>
            <a:pPr lvl="2"/>
            <a:r>
              <a:rPr lang="en-GB" noProof="0" dirty="0" smtClean="0"/>
              <a:t>Third layer</a:t>
            </a:r>
          </a:p>
          <a:p>
            <a:pPr lvl="3"/>
            <a:r>
              <a:rPr lang="en-GB" noProof="0" dirty="0" smtClean="0"/>
              <a:t>Fourth layer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2" hasCustomPrompt="1"/>
          </p:nvPr>
        </p:nvSpPr>
        <p:spPr>
          <a:xfrm>
            <a:off x="4680000" y="2197916"/>
            <a:ext cx="3780000" cy="4066084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en-GB" noProof="0" dirty="0" smtClean="0"/>
              <a:t>Click here to add text</a:t>
            </a:r>
          </a:p>
          <a:p>
            <a:pPr lvl="1"/>
            <a:r>
              <a:rPr lang="en-GB" noProof="0" dirty="0" smtClean="0"/>
              <a:t>Second layer</a:t>
            </a:r>
          </a:p>
          <a:p>
            <a:pPr lvl="2"/>
            <a:r>
              <a:rPr lang="en-GB" noProof="0" dirty="0" smtClean="0"/>
              <a:t>Third layer</a:t>
            </a:r>
          </a:p>
          <a:p>
            <a:pPr lvl="3"/>
            <a:r>
              <a:rPr lang="en-GB" noProof="0" dirty="0" smtClean="0"/>
              <a:t>Fourth layer</a:t>
            </a:r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862776" y="6581001"/>
            <a:ext cx="3418449" cy="246221"/>
          </a:xfrm>
          <a:prstGeom prst="rect">
            <a:avLst/>
          </a:prstGeom>
        </p:spPr>
        <p:txBody>
          <a:bodyPr/>
          <a:lstStyle>
            <a:lvl1pPr algn="ct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 dirty="0" smtClean="0"/>
              <a:t>Resource Mobilisation for Biodiversity Conserv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17953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2 columns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84000" y="1483200"/>
            <a:ext cx="7776000" cy="617928"/>
          </a:xfrm>
        </p:spPr>
        <p:txBody>
          <a:bodyPr/>
          <a:lstStyle/>
          <a:p>
            <a:r>
              <a:rPr lang="en-GB" noProof="0" dirty="0" smtClean="0"/>
              <a:t>Click here to add title</a:t>
            </a:r>
            <a:endParaRPr lang="de-DE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62D46A3-6139-44C0-86F3-AE4B6574C2A5}" type="datetime1">
              <a:rPr lang="en-GB" noProof="0" smtClean="0"/>
              <a:pPr/>
              <a:t>08/12/2017</a:t>
            </a:fld>
            <a:endParaRPr lang="de-DE" noProof="0"/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683999" y="2239861"/>
            <a:ext cx="3780000" cy="4024139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 dirty="0" smtClean="0"/>
              <a:t>First layer</a:t>
            </a:r>
          </a:p>
          <a:p>
            <a:pPr lvl="1"/>
            <a:r>
              <a:rPr lang="en-GB" noProof="0" dirty="0" smtClean="0"/>
              <a:t>Second layer</a:t>
            </a:r>
          </a:p>
          <a:p>
            <a:pPr lvl="2"/>
            <a:r>
              <a:rPr lang="en-GB" noProof="0" dirty="0" smtClean="0"/>
              <a:t>Third layer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2" hasCustomPrompt="1"/>
          </p:nvPr>
        </p:nvSpPr>
        <p:spPr>
          <a:xfrm>
            <a:off x="4680000" y="2273417"/>
            <a:ext cx="3780000" cy="399058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 dirty="0" smtClean="0"/>
              <a:t>First layer</a:t>
            </a:r>
          </a:p>
          <a:p>
            <a:pPr lvl="1"/>
            <a:r>
              <a:rPr lang="en-GB" noProof="0" dirty="0" smtClean="0"/>
              <a:t>Second layer</a:t>
            </a:r>
          </a:p>
          <a:p>
            <a:pPr lvl="2"/>
            <a:r>
              <a:rPr lang="en-GB" noProof="0" dirty="0" smtClean="0"/>
              <a:t>Third layer</a:t>
            </a:r>
          </a:p>
        </p:txBody>
      </p:sp>
      <p:sp>
        <p:nvSpPr>
          <p:cNvPr id="7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862776" y="6581001"/>
            <a:ext cx="3418449" cy="246221"/>
          </a:xfrm>
          <a:prstGeom prst="rect">
            <a:avLst/>
          </a:prstGeom>
        </p:spPr>
        <p:txBody>
          <a:bodyPr/>
          <a:lstStyle>
            <a:lvl1pPr algn="ct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 dirty="0" smtClean="0"/>
              <a:t>Resource Mobilisation for Biodiversity Conserv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345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10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1119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16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1040400" y="4118994"/>
            <a:ext cx="7034400" cy="872627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 sz="16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dirty="0" smtClean="0"/>
              <a:t>Conference </a:t>
            </a:r>
            <a:r>
              <a:rPr lang="en-GB" dirty="0" err="1" smtClean="0"/>
              <a:t>xy</a:t>
            </a:r>
            <a:endParaRPr lang="en-GB" dirty="0" smtClean="0"/>
          </a:p>
          <a:p>
            <a:r>
              <a:rPr lang="en-GB" dirty="0" smtClean="0"/>
              <a:t>Friday, 19 September 2014</a:t>
            </a:r>
          </a:p>
          <a:p>
            <a:r>
              <a:rPr lang="en-GB" dirty="0" smtClean="0"/>
              <a:t>Windhoek, Namibia</a:t>
            </a:r>
            <a:endParaRPr lang="de-DE" dirty="0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7721600" y="6604000"/>
            <a:ext cx="1422400" cy="25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200" b="1" i="0" u="none" strike="noStrike" cap="none" normalizeH="0" baseline="0" smtClean="0">
              <a:ln>
                <a:noFill/>
              </a:ln>
              <a:solidFill>
                <a:srgbClr val="999999"/>
              </a:solidFill>
              <a:effectLst/>
              <a:latin typeface="Arial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pic>
        <p:nvPicPr>
          <p:cNvPr id="11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1490" y="5293823"/>
            <a:ext cx="1829101" cy="984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099"/>
          <a:stretch/>
        </p:blipFill>
        <p:spPr bwMode="auto">
          <a:xfrm>
            <a:off x="3567121" y="5396888"/>
            <a:ext cx="1526377" cy="63598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3" name="Textfeld 2"/>
          <p:cNvSpPr txBox="1">
            <a:spLocks noChangeArrowheads="1"/>
          </p:cNvSpPr>
          <p:nvPr userDrawn="1"/>
        </p:nvSpPr>
        <p:spPr bwMode="auto">
          <a:xfrm>
            <a:off x="3630725" y="5362278"/>
            <a:ext cx="711725" cy="1733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en-GB" sz="500" b="1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rial" panose="020B0604020202020204" pitchFamily="34" charset="0"/>
                <a:ea typeface="Arial Unicode MS"/>
                <a:cs typeface="Arial" panose="020B0604020202020204" pitchFamily="34" charset="0"/>
              </a:rPr>
              <a:t>Implemented by</a:t>
            </a:r>
            <a:endParaRPr lang="de-DE" sz="1100" b="1" dirty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64" y="5167401"/>
            <a:ext cx="2789804" cy="970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hteck 13"/>
          <p:cNvSpPr/>
          <p:nvPr userDrawn="1"/>
        </p:nvSpPr>
        <p:spPr bwMode="auto">
          <a:xfrm>
            <a:off x="0" y="-19320"/>
            <a:ext cx="9144000" cy="119497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200" b="1" i="0" u="none" strike="noStrike" cap="none" normalizeH="0" baseline="0" smtClean="0">
              <a:ln>
                <a:noFill/>
              </a:ln>
              <a:solidFill>
                <a:srgbClr val="999999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95998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4D4D4D"/>
                </a:solidFill>
                <a:latin typeface="Gill Sans MT"/>
                <a:cs typeface="Helvetica"/>
              </a:rPr>
              <a:t>Stakeholder dialogue  |  10-11-2015  | Windhoek</a:t>
            </a:r>
            <a:endParaRPr lang="en-US" dirty="0" smtClean="0">
              <a:solidFill>
                <a:srgbClr val="4D4D4D"/>
              </a:solidFill>
              <a:latin typeface="Gill Sans MT"/>
              <a:cs typeface="Helvetica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457200" y="6337595"/>
            <a:ext cx="706640" cy="365125"/>
          </a:xfrm>
          <a:prstGeom prst="rect">
            <a:avLst/>
          </a:prstGeom>
        </p:spPr>
        <p:txBody>
          <a:bodyPr/>
          <a:lstStyle/>
          <a:p>
            <a:fld id="{40A52DF5-62F2-49E4-81A2-B91D26093C0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03529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gif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6.png"/><Relationship Id="rId10" Type="http://schemas.openxmlformats.org/officeDocument/2006/relationships/image" Target="../media/image1.gif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-19321"/>
            <a:ext cx="9144000" cy="1115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chteck 1"/>
          <p:cNvSpPr/>
          <p:nvPr userDrawn="1"/>
        </p:nvSpPr>
        <p:spPr bwMode="auto">
          <a:xfrm>
            <a:off x="0" y="-19320"/>
            <a:ext cx="9144000" cy="119497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200" b="1" i="0" u="none" strike="noStrike" cap="none" normalizeH="0" baseline="0" smtClean="0">
              <a:ln>
                <a:noFill/>
              </a:ln>
              <a:solidFill>
                <a:srgbClr val="999999"/>
              </a:solidFill>
              <a:effectLst/>
              <a:latin typeface="Arial" charset="0"/>
            </a:endParaRPr>
          </a:p>
        </p:txBody>
      </p:sp>
      <p:sp>
        <p:nvSpPr>
          <p:cNvPr id="75791" name="Rectangle 15"/>
          <p:cNvSpPr>
            <a:spLocks noGrp="1" noChangeArrowheads="1"/>
          </p:cNvSpPr>
          <p:nvPr>
            <p:ph type="title"/>
          </p:nvPr>
        </p:nvSpPr>
        <p:spPr bwMode="auto">
          <a:xfrm>
            <a:off x="684000" y="1197975"/>
            <a:ext cx="7776000" cy="617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Click here to add title</a:t>
            </a:r>
          </a:p>
        </p:txBody>
      </p:sp>
      <p:pic>
        <p:nvPicPr>
          <p:cNvPr id="20" name="Grafik 8"/>
          <p:cNvPicPr>
            <a:picLocks noChangeAspect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0" y="5851525"/>
            <a:ext cx="9144000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5792" name="Rectangle 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4000" y="1921080"/>
            <a:ext cx="7776000" cy="4342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First layer</a:t>
            </a:r>
          </a:p>
          <a:p>
            <a:pPr lvl="1"/>
            <a:r>
              <a:rPr lang="en-GB" noProof="0" dirty="0" smtClean="0"/>
              <a:t>Second layer</a:t>
            </a:r>
          </a:p>
          <a:p>
            <a:pPr lvl="2"/>
            <a:r>
              <a:rPr lang="en-GB" noProof="0" dirty="0" smtClean="0"/>
              <a:t>Third layer</a:t>
            </a:r>
          </a:p>
          <a:p>
            <a:pPr lvl="3"/>
            <a:r>
              <a:rPr lang="en-GB" noProof="0" dirty="0" smtClean="0"/>
              <a:t>Fourth layer</a:t>
            </a:r>
          </a:p>
        </p:txBody>
      </p:sp>
      <p:sp>
        <p:nvSpPr>
          <p:cNvPr id="14" name="Text Box 19"/>
          <p:cNvSpPr txBox="1">
            <a:spLocks noChangeArrowheads="1"/>
          </p:cNvSpPr>
          <p:nvPr/>
        </p:nvSpPr>
        <p:spPr bwMode="auto">
          <a:xfrm>
            <a:off x="7703687" y="6581001"/>
            <a:ext cx="9271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GB" sz="1000" b="0" noProof="0" dirty="0" smtClean="0">
                <a:solidFill>
                  <a:srgbClr val="6E6452"/>
                </a:solidFill>
                <a:latin typeface="Arial Narrow" pitchFamily="34" charset="0"/>
              </a:rPr>
              <a:t>Page </a:t>
            </a:r>
            <a:fld id="{327115CA-E6A4-425F-BB4F-A64D48743A27}" type="slidenum">
              <a:rPr lang="en-GB" sz="1000" b="0" noProof="0" smtClean="0">
                <a:solidFill>
                  <a:srgbClr val="6E6452"/>
                </a:solidFill>
                <a:latin typeface="Arial Narrow" pitchFamily="34" charset="0"/>
              </a:rPr>
              <a:pPr/>
              <a:t>‹#›</a:t>
            </a:fld>
            <a:endParaRPr lang="en-GB" sz="1000" b="0" noProof="0" dirty="0">
              <a:solidFill>
                <a:srgbClr val="6E6452"/>
              </a:solidFill>
              <a:latin typeface="Arial Narrow" pitchFamily="34" charset="0"/>
            </a:endParaRPr>
          </a:p>
        </p:txBody>
      </p:sp>
      <p:sp>
        <p:nvSpPr>
          <p:cNvPr id="16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7544" y="6581000"/>
            <a:ext cx="12954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 b="0">
                <a:solidFill>
                  <a:srgbClr val="6E6452"/>
                </a:solidFill>
                <a:latin typeface="Arial Narrow" pitchFamily="34" charset="0"/>
              </a:defRPr>
            </a:lvl1pPr>
          </a:lstStyle>
          <a:p>
            <a:fld id="{C8FD01D2-CE24-4175-B1C0-A8371C3FDB5D}" type="datetime1">
              <a:rPr lang="en-GB" noProof="0" smtClean="0"/>
              <a:pPr/>
              <a:t>08/12/2017</a:t>
            </a:fld>
            <a:endParaRPr lang="en-GB" noProof="0" dirty="0"/>
          </a:p>
        </p:txBody>
      </p:sp>
      <p:sp>
        <p:nvSpPr>
          <p:cNvPr id="25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2862776" y="6581001"/>
            <a:ext cx="3418449" cy="246221"/>
          </a:xfrm>
          <a:prstGeom prst="rect">
            <a:avLst/>
          </a:prstGeom>
        </p:spPr>
        <p:txBody>
          <a:bodyPr/>
          <a:lstStyle>
            <a:lvl1pPr algn="ct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 dirty="0" smtClean="0"/>
              <a:t>Resource Mobilisation for Biodiversity Conservation</a:t>
            </a:r>
            <a:endParaRPr lang="en-GB" dirty="0"/>
          </a:p>
        </p:txBody>
      </p:sp>
      <p:pic>
        <p:nvPicPr>
          <p:cNvPr id="17" name="Picture 5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5260" y="121141"/>
            <a:ext cx="1829101" cy="984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8"/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099"/>
          <a:stretch/>
        </p:blipFill>
        <p:spPr bwMode="auto">
          <a:xfrm>
            <a:off x="5689491" y="334263"/>
            <a:ext cx="1526377" cy="63598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3" name="Textfeld 2"/>
          <p:cNvSpPr txBox="1">
            <a:spLocks noChangeArrowheads="1"/>
          </p:cNvSpPr>
          <p:nvPr userDrawn="1"/>
        </p:nvSpPr>
        <p:spPr bwMode="auto">
          <a:xfrm>
            <a:off x="5740954" y="247604"/>
            <a:ext cx="711725" cy="1733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en-GB" sz="500" b="1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rial" panose="020B0604020202020204" pitchFamily="34" charset="0"/>
                <a:ea typeface="Arial Unicode MS"/>
                <a:cs typeface="Arial" panose="020B0604020202020204" pitchFamily="34" charset="0"/>
              </a:rPr>
              <a:t>Implemented by</a:t>
            </a:r>
            <a:endParaRPr lang="de-DE" sz="1100" b="1" dirty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034678" y="107953"/>
            <a:ext cx="2619667" cy="90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7473" y="298249"/>
            <a:ext cx="1755491" cy="610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8" r:id="rId2"/>
    <p:sldLayoutId id="2147483709" r:id="rId3"/>
    <p:sldLayoutId id="2147483714" r:id="rId4"/>
    <p:sldLayoutId id="2147483710" r:id="rId5"/>
    <p:sldLayoutId id="2147483711" r:id="rId6"/>
    <p:sldLayoutId id="2147483715" r:id="rId7"/>
    <p:sldLayoutId id="2147483716" r:id="rId8"/>
  </p:sldLayoutIdLst>
  <p:transition/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C00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9pPr>
    </p:titleStyle>
    <p:bodyStyle>
      <a:lvl1pPr marL="360000" indent="-360000" algn="l" rtl="0" eaLnBrk="1" fontAlgn="base" hangingPunct="1">
        <a:spcBef>
          <a:spcPts val="400"/>
        </a:spcBef>
        <a:spcAft>
          <a:spcPts val="800"/>
        </a:spcAft>
        <a:buClr>
          <a:srgbClr val="C80F0F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C00000"/>
          </a:solidFill>
          <a:latin typeface="+mn-lt"/>
          <a:ea typeface="+mn-ea"/>
          <a:cs typeface="+mn-cs"/>
        </a:defRPr>
      </a:lvl1pPr>
      <a:lvl2pPr marL="72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>
          <a:solidFill>
            <a:schemeClr val="bg1">
              <a:lumMod val="50000"/>
            </a:schemeClr>
          </a:solidFill>
          <a:latin typeface="+mn-lt"/>
        </a:defRPr>
      </a:lvl2pPr>
      <a:lvl3pPr marL="108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>
          <a:solidFill>
            <a:schemeClr val="bg1">
              <a:lumMod val="50000"/>
            </a:schemeClr>
          </a:solidFill>
          <a:latin typeface="+mn-lt"/>
        </a:defRPr>
      </a:lvl3pPr>
      <a:lvl4pPr marL="144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chemeClr val="bg1">
              <a:lumMod val="50000"/>
            </a:schemeClr>
          </a:solidFill>
          <a:latin typeface="+mn-lt"/>
        </a:defRPr>
      </a:lvl4pPr>
      <a:lvl5pPr marL="1440000" indent="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None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5pPr>
      <a:lvl6pPr marL="216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6pPr>
      <a:lvl7pPr marL="252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7pPr>
      <a:lvl8pPr marL="288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8pPr>
      <a:lvl9pPr marL="324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notesSlide" Target="../notesSlides/notesSlide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slideLayout" Target="../slideLayouts/slideLayout2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3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resmob.org/reports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.png"/><Relationship Id="rId4" Type="http://schemas.openxmlformats.org/officeDocument/2006/relationships/hyperlink" Target="https://resmob.org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sz="quarter" idx="1"/>
          </p:nvPr>
        </p:nvSpPr>
        <p:spPr>
          <a:xfrm>
            <a:off x="1054800" y="4181775"/>
            <a:ext cx="7034400" cy="972458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losing Regional Workshop for the United Nations Development Account Project</a:t>
            </a:r>
          </a:p>
          <a:p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11-13 December 2017</a:t>
            </a:r>
          </a:p>
          <a:p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airobi, Kenya</a:t>
            </a:r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ctrTitle" sz="quarter"/>
          </p:nvPr>
        </p:nvSpPr>
        <p:spPr>
          <a:xfrm>
            <a:off x="1040400" y="1180926"/>
            <a:ext cx="7034400" cy="1143000"/>
          </a:xfrm>
        </p:spPr>
        <p:txBody>
          <a:bodyPr/>
          <a:lstStyle/>
          <a:p>
            <a:r>
              <a:rPr lang="de-DE" sz="4000" dirty="0"/>
              <a:t>The </a:t>
            </a:r>
            <a:r>
              <a:rPr lang="en-US" sz="4000" dirty="0" smtClean="0"/>
              <a:t>Resource</a:t>
            </a:r>
            <a:r>
              <a:rPr lang="de-DE" sz="4000" dirty="0" smtClean="0"/>
              <a:t> </a:t>
            </a:r>
            <a:r>
              <a:rPr lang="de-DE" sz="4000" dirty="0"/>
              <a:t>Mobilisation Project (ResMob</a:t>
            </a:r>
            <a:r>
              <a:rPr lang="de-DE" sz="4000" dirty="0" smtClean="0"/>
              <a:t>)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/>
              <a:t/>
            </a:r>
            <a:br>
              <a:rPr lang="de-DE" dirty="0"/>
            </a:br>
            <a:r>
              <a:rPr lang="en-US" dirty="0"/>
              <a:t>Resource mobilisation for effective implementation of the updated biodiversity strategy in Namibia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 bwMode="auto">
          <a:xfrm>
            <a:off x="0" y="6589485"/>
            <a:ext cx="9144000" cy="326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200" b="1" i="0" u="none" strike="noStrike" cap="none" normalizeH="0" baseline="0" smtClean="0">
              <a:ln>
                <a:noFill/>
              </a:ln>
              <a:solidFill>
                <a:srgbClr val="999999"/>
              </a:solidFill>
              <a:effectLst/>
              <a:latin typeface="Arial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614149"/>
            <a:ext cx="9144000" cy="3171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1040400" y="3683977"/>
            <a:ext cx="694876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 smtClean="0">
                <a:solidFill>
                  <a:srgbClr val="C80F0F"/>
                </a:solidFill>
              </a:rPr>
              <a:t>Fast-track </a:t>
            </a:r>
            <a:r>
              <a:rPr lang="en-ZA" dirty="0" smtClean="0">
                <a:solidFill>
                  <a:srgbClr val="C80F0F"/>
                </a:solidFill>
              </a:rPr>
              <a:t>water accounts in Namibia</a:t>
            </a:r>
            <a:endParaRPr lang="en-ZA" dirty="0">
              <a:solidFill>
                <a:srgbClr val="C80F0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953412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8FE8AF5D-14E7-4A90-98FB-F1C241D9EC78}" type="datetime1">
              <a:rPr lang="en-GB" noProof="0" smtClean="0"/>
              <a:pPr/>
              <a:t>08/12/2017</a:t>
            </a:fld>
            <a:endParaRPr lang="de-DE" noProof="0"/>
          </a:p>
        </p:txBody>
      </p:sp>
      <p:grpSp>
        <p:nvGrpSpPr>
          <p:cNvPr id="6" name="Group 5"/>
          <p:cNvGrpSpPr/>
          <p:nvPr/>
        </p:nvGrpSpPr>
        <p:grpSpPr>
          <a:xfrm>
            <a:off x="829583" y="1839251"/>
            <a:ext cx="6750858" cy="3829739"/>
            <a:chOff x="-1055202" y="1758190"/>
            <a:chExt cx="7203411" cy="4183663"/>
          </a:xfrm>
        </p:grpSpPr>
        <p:grpSp>
          <p:nvGrpSpPr>
            <p:cNvPr id="7" name="Group 6"/>
            <p:cNvGrpSpPr/>
            <p:nvPr>
              <p:custDataLst>
                <p:tags r:id="rId1"/>
              </p:custDataLst>
            </p:nvPr>
          </p:nvGrpSpPr>
          <p:grpSpPr>
            <a:xfrm>
              <a:off x="5794179" y="4212148"/>
              <a:ext cx="354030" cy="183552"/>
              <a:chOff x="5794179" y="4212148"/>
              <a:chExt cx="354030" cy="183552"/>
            </a:xfrm>
          </p:grpSpPr>
          <p:sp>
            <p:nvSpPr>
              <p:cNvPr id="87" name="Freeform 369"/>
              <p:cNvSpPr>
                <a:spLocks/>
              </p:cNvSpPr>
              <p:nvPr/>
            </p:nvSpPr>
            <p:spPr bwMode="auto">
              <a:xfrm>
                <a:off x="6083067" y="4282745"/>
                <a:ext cx="14161" cy="16943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0" y="9"/>
                  </a:cxn>
                  <a:cxn ang="0">
                    <a:pos x="6" y="18"/>
                  </a:cxn>
                  <a:cxn ang="0">
                    <a:pos x="5" y="17"/>
                  </a:cxn>
                  <a:cxn ang="0">
                    <a:pos x="3" y="14"/>
                  </a:cxn>
                  <a:cxn ang="0">
                    <a:pos x="1" y="10"/>
                  </a:cxn>
                  <a:cxn ang="0">
                    <a:pos x="0" y="6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88" name="Line 370"/>
              <p:cNvSpPr>
                <a:spLocks noChangeShapeType="1"/>
              </p:cNvSpPr>
              <p:nvPr/>
            </p:nvSpPr>
            <p:spPr bwMode="auto">
              <a:xfrm>
                <a:off x="6083067" y="4288393"/>
                <a:ext cx="5664" cy="2824"/>
              </a:xfrm>
              <a:prstGeom prst="line">
                <a:avLst/>
              </a:prstGeom>
              <a:solidFill>
                <a:schemeClr val="bg1">
                  <a:lumMod val="65000"/>
                </a:schemeClr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89" name="Freeform 371"/>
              <p:cNvSpPr>
                <a:spLocks/>
              </p:cNvSpPr>
              <p:nvPr/>
            </p:nvSpPr>
            <p:spPr bwMode="auto">
              <a:xfrm>
                <a:off x="6000933" y="4342046"/>
                <a:ext cx="14161" cy="16943"/>
              </a:xfrm>
              <a:custGeom>
                <a:avLst/>
                <a:gdLst/>
                <a:ahLst/>
                <a:cxnLst>
                  <a:cxn ang="0">
                    <a:pos x="14" y="19"/>
                  </a:cxn>
                  <a:cxn ang="0">
                    <a:pos x="0" y="0"/>
                  </a:cxn>
                  <a:cxn ang="0">
                    <a:pos x="14" y="19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90" name="Freeform 372"/>
              <p:cNvSpPr>
                <a:spLocks/>
              </p:cNvSpPr>
              <p:nvPr/>
            </p:nvSpPr>
            <p:spPr bwMode="auto">
              <a:xfrm>
                <a:off x="5927294" y="4378757"/>
                <a:ext cx="5664" cy="16943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7" y="18"/>
                  </a:cxn>
                  <a:cxn ang="0">
                    <a:pos x="0" y="18"/>
                  </a:cxn>
                  <a:cxn ang="0">
                    <a:pos x="0" y="0"/>
                  </a:cxn>
                  <a:cxn ang="0">
                    <a:pos x="7" y="0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91" name="Freeform 373"/>
              <p:cNvSpPr>
                <a:spLocks/>
              </p:cNvSpPr>
              <p:nvPr/>
            </p:nvSpPr>
            <p:spPr bwMode="auto">
              <a:xfrm>
                <a:off x="6128383" y="4212148"/>
                <a:ext cx="19826" cy="11296"/>
              </a:xfrm>
              <a:custGeom>
                <a:avLst/>
                <a:gdLst/>
                <a:ahLst/>
                <a:cxnLst>
                  <a:cxn ang="0">
                    <a:pos x="20" y="12"/>
                  </a:cxn>
                  <a:cxn ang="0">
                    <a:pos x="10" y="9"/>
                  </a:cxn>
                  <a:cxn ang="0">
                    <a:pos x="0" y="6"/>
                  </a:cxn>
                  <a:cxn ang="0">
                    <a:pos x="1" y="5"/>
                  </a:cxn>
                  <a:cxn ang="0">
                    <a:pos x="3" y="3"/>
                  </a:cxn>
                  <a:cxn ang="0">
                    <a:pos x="8" y="1"/>
                  </a:cxn>
                  <a:cxn ang="0">
                    <a:pos x="13" y="0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92" name="Line 374"/>
              <p:cNvSpPr>
                <a:spLocks noChangeShapeType="1"/>
              </p:cNvSpPr>
              <p:nvPr/>
            </p:nvSpPr>
            <p:spPr bwMode="auto">
              <a:xfrm>
                <a:off x="6139712" y="4212148"/>
                <a:ext cx="2832" cy="5648"/>
              </a:xfrm>
              <a:prstGeom prst="line">
                <a:avLst/>
              </a:prstGeom>
              <a:solidFill>
                <a:schemeClr val="bg1">
                  <a:lumMod val="65000"/>
                </a:schemeClr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93" name="Freeform 375"/>
              <p:cNvSpPr>
                <a:spLocks/>
              </p:cNvSpPr>
              <p:nvPr/>
            </p:nvSpPr>
            <p:spPr bwMode="auto">
              <a:xfrm>
                <a:off x="5794179" y="4367461"/>
                <a:ext cx="19826" cy="1694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8"/>
                  </a:cxn>
                  <a:cxn ang="0">
                    <a:pos x="20" y="18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94" name="Freeform 376"/>
              <p:cNvSpPr>
                <a:spLocks/>
              </p:cNvSpPr>
              <p:nvPr/>
            </p:nvSpPr>
            <p:spPr bwMode="auto">
              <a:xfrm>
                <a:off x="5805508" y="4373109"/>
                <a:ext cx="8497" cy="11296"/>
              </a:xfrm>
              <a:custGeom>
                <a:avLst/>
                <a:gdLst/>
                <a:ahLst/>
                <a:cxnLst>
                  <a:cxn ang="0">
                    <a:pos x="7" y="12"/>
                  </a:cxn>
                  <a:cxn ang="0">
                    <a:pos x="4" y="6"/>
                  </a:cxn>
                  <a:cxn ang="0">
                    <a:pos x="0" y="0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95" name="Freeform 377"/>
              <p:cNvSpPr>
                <a:spLocks/>
              </p:cNvSpPr>
              <p:nvPr/>
            </p:nvSpPr>
            <p:spPr bwMode="auto">
              <a:xfrm>
                <a:off x="5794179" y="4367461"/>
                <a:ext cx="19826" cy="1694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8"/>
                  </a:cxn>
                  <a:cxn ang="0">
                    <a:pos x="20" y="18"/>
                  </a:cxn>
                  <a:cxn ang="0">
                    <a:pos x="17" y="12"/>
                  </a:cxn>
                  <a:cxn ang="0">
                    <a:pos x="13" y="6"/>
                  </a:cxn>
                  <a:cxn ang="0">
                    <a:pos x="0" y="0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96" name="Freeform 378"/>
              <p:cNvSpPr>
                <a:spLocks/>
              </p:cNvSpPr>
              <p:nvPr/>
            </p:nvSpPr>
            <p:spPr bwMode="auto">
              <a:xfrm>
                <a:off x="5927294" y="4378757"/>
                <a:ext cx="5664" cy="16943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7" y="18"/>
                  </a:cxn>
                  <a:cxn ang="0">
                    <a:pos x="0" y="18"/>
                  </a:cxn>
                  <a:cxn ang="0">
                    <a:pos x="0" y="0"/>
                  </a:cxn>
                  <a:cxn ang="0">
                    <a:pos x="7" y="0"/>
                  </a:cxn>
                  <a:cxn ang="0">
                    <a:pos x="0" y="6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97" name="Freeform 379"/>
              <p:cNvSpPr>
                <a:spLocks/>
              </p:cNvSpPr>
              <p:nvPr/>
            </p:nvSpPr>
            <p:spPr bwMode="auto">
              <a:xfrm>
                <a:off x="6083067" y="4282745"/>
                <a:ext cx="14161" cy="16943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0" y="9"/>
                  </a:cxn>
                  <a:cxn ang="0">
                    <a:pos x="6" y="18"/>
                  </a:cxn>
                  <a:cxn ang="0">
                    <a:pos x="5" y="17"/>
                  </a:cxn>
                  <a:cxn ang="0">
                    <a:pos x="3" y="14"/>
                  </a:cxn>
                  <a:cxn ang="0">
                    <a:pos x="1" y="10"/>
                  </a:cxn>
                  <a:cxn ang="0">
                    <a:pos x="0" y="6"/>
                  </a:cxn>
                  <a:cxn ang="0">
                    <a:pos x="6" y="6"/>
                  </a:cxn>
                  <a:cxn ang="0">
                    <a:pos x="13" y="0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</p:grpSp>
        <p:grpSp>
          <p:nvGrpSpPr>
            <p:cNvPr id="8" name="Group 7"/>
            <p:cNvGrpSpPr/>
            <p:nvPr>
              <p:custDataLst>
                <p:tags r:id="rId2"/>
              </p:custDataLst>
            </p:nvPr>
          </p:nvGrpSpPr>
          <p:grpSpPr>
            <a:xfrm>
              <a:off x="2002359" y="2935588"/>
              <a:ext cx="104822" cy="41559"/>
              <a:chOff x="2002359" y="2935588"/>
              <a:chExt cx="104822" cy="41559"/>
            </a:xfrm>
          </p:grpSpPr>
          <p:sp>
            <p:nvSpPr>
              <p:cNvPr id="82" name="Freeform 386"/>
              <p:cNvSpPr>
                <a:spLocks/>
              </p:cNvSpPr>
              <p:nvPr/>
            </p:nvSpPr>
            <p:spPr bwMode="auto">
              <a:xfrm>
                <a:off x="2002359" y="2957753"/>
                <a:ext cx="52411" cy="19394"/>
              </a:xfrm>
              <a:custGeom>
                <a:avLst/>
                <a:gdLst/>
                <a:ahLst/>
                <a:cxnLst>
                  <a:cxn ang="0">
                    <a:pos x="61" y="6"/>
                  </a:cxn>
                  <a:cxn ang="0">
                    <a:pos x="53" y="2"/>
                  </a:cxn>
                  <a:cxn ang="0">
                    <a:pos x="0" y="0"/>
                  </a:cxn>
                  <a:cxn ang="0">
                    <a:pos x="2" y="14"/>
                  </a:cxn>
                  <a:cxn ang="0">
                    <a:pos x="7" y="20"/>
                  </a:cxn>
                  <a:cxn ang="0">
                    <a:pos x="18" y="13"/>
                  </a:cxn>
                  <a:cxn ang="0">
                    <a:pos x="61" y="6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83" name="Freeform 387"/>
              <p:cNvSpPr>
                <a:spLocks/>
              </p:cNvSpPr>
              <p:nvPr/>
            </p:nvSpPr>
            <p:spPr bwMode="auto">
              <a:xfrm>
                <a:off x="2094078" y="2935588"/>
                <a:ext cx="13103" cy="3324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20"/>
                  </a:cxn>
                  <a:cxn ang="0">
                    <a:pos x="0" y="36"/>
                  </a:cxn>
                  <a:cxn ang="0">
                    <a:pos x="11" y="35"/>
                  </a:cxn>
                  <a:cxn ang="0">
                    <a:pos x="15" y="14"/>
                  </a:cxn>
                  <a:cxn ang="0">
                    <a:pos x="2" y="0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-1055202" y="1758190"/>
              <a:ext cx="7096535" cy="4183663"/>
              <a:chOff x="-1055202" y="1758190"/>
              <a:chExt cx="7096535" cy="4183663"/>
            </a:xfrm>
          </p:grpSpPr>
          <p:sp>
            <p:nvSpPr>
              <p:cNvPr id="10" name="Freeform 32"/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3503004" y="3096714"/>
                <a:ext cx="624563" cy="513947"/>
              </a:xfrm>
              <a:custGeom>
                <a:avLst/>
                <a:gdLst/>
                <a:ahLst/>
                <a:cxnLst>
                  <a:cxn ang="0">
                    <a:pos x="6" y="383"/>
                  </a:cxn>
                  <a:cxn ang="0">
                    <a:pos x="8" y="316"/>
                  </a:cxn>
                  <a:cxn ang="0">
                    <a:pos x="17" y="287"/>
                  </a:cxn>
                  <a:cxn ang="0">
                    <a:pos x="52" y="238"/>
                  </a:cxn>
                  <a:cxn ang="0">
                    <a:pos x="71" y="205"/>
                  </a:cxn>
                  <a:cxn ang="0">
                    <a:pos x="73" y="167"/>
                  </a:cxn>
                  <a:cxn ang="0">
                    <a:pos x="73" y="137"/>
                  </a:cxn>
                  <a:cxn ang="0">
                    <a:pos x="54" y="108"/>
                  </a:cxn>
                  <a:cxn ang="0">
                    <a:pos x="61" y="79"/>
                  </a:cxn>
                  <a:cxn ang="0">
                    <a:pos x="76" y="50"/>
                  </a:cxn>
                  <a:cxn ang="0">
                    <a:pos x="96" y="25"/>
                  </a:cxn>
                  <a:cxn ang="0">
                    <a:pos x="120" y="7"/>
                  </a:cxn>
                  <a:cxn ang="0">
                    <a:pos x="146" y="0"/>
                  </a:cxn>
                  <a:cxn ang="0">
                    <a:pos x="173" y="5"/>
                  </a:cxn>
                  <a:cxn ang="0">
                    <a:pos x="206" y="26"/>
                  </a:cxn>
                  <a:cxn ang="0">
                    <a:pos x="236" y="45"/>
                  </a:cxn>
                  <a:cxn ang="0">
                    <a:pos x="259" y="50"/>
                  </a:cxn>
                  <a:cxn ang="0">
                    <a:pos x="272" y="44"/>
                  </a:cxn>
                  <a:cxn ang="0">
                    <a:pos x="284" y="35"/>
                  </a:cxn>
                  <a:cxn ang="0">
                    <a:pos x="300" y="32"/>
                  </a:cxn>
                  <a:cxn ang="0">
                    <a:pos x="318" y="39"/>
                  </a:cxn>
                  <a:cxn ang="0">
                    <a:pos x="337" y="65"/>
                  </a:cxn>
                  <a:cxn ang="0">
                    <a:pos x="353" y="79"/>
                  </a:cxn>
                  <a:cxn ang="0">
                    <a:pos x="370" y="81"/>
                  </a:cxn>
                  <a:cxn ang="0">
                    <a:pos x="381" y="75"/>
                  </a:cxn>
                  <a:cxn ang="0">
                    <a:pos x="397" y="56"/>
                  </a:cxn>
                  <a:cxn ang="0">
                    <a:pos x="419" y="38"/>
                  </a:cxn>
                  <a:cxn ang="0">
                    <a:pos x="458" y="22"/>
                  </a:cxn>
                  <a:cxn ang="0">
                    <a:pos x="487" y="25"/>
                  </a:cxn>
                  <a:cxn ang="0">
                    <a:pos x="511" y="35"/>
                  </a:cxn>
                  <a:cxn ang="0">
                    <a:pos x="537" y="43"/>
                  </a:cxn>
                  <a:cxn ang="0">
                    <a:pos x="571" y="39"/>
                  </a:cxn>
                  <a:cxn ang="0">
                    <a:pos x="646" y="67"/>
                  </a:cxn>
                  <a:cxn ang="0">
                    <a:pos x="665" y="105"/>
                  </a:cxn>
                  <a:cxn ang="0">
                    <a:pos x="623" y="183"/>
                  </a:cxn>
                  <a:cxn ang="0">
                    <a:pos x="593" y="233"/>
                  </a:cxn>
                  <a:cxn ang="0">
                    <a:pos x="570" y="291"/>
                  </a:cxn>
                  <a:cxn ang="0">
                    <a:pos x="550" y="343"/>
                  </a:cxn>
                  <a:cxn ang="0">
                    <a:pos x="525" y="407"/>
                  </a:cxn>
                  <a:cxn ang="0">
                    <a:pos x="516" y="422"/>
                  </a:cxn>
                  <a:cxn ang="0">
                    <a:pos x="500" y="439"/>
                  </a:cxn>
                  <a:cxn ang="0">
                    <a:pos x="482" y="443"/>
                  </a:cxn>
                  <a:cxn ang="0">
                    <a:pos x="459" y="432"/>
                  </a:cxn>
                  <a:cxn ang="0">
                    <a:pos x="440" y="421"/>
                  </a:cxn>
                  <a:cxn ang="0">
                    <a:pos x="408" y="424"/>
                  </a:cxn>
                  <a:cxn ang="0">
                    <a:pos x="381" y="441"/>
                  </a:cxn>
                  <a:cxn ang="0">
                    <a:pos x="364" y="469"/>
                  </a:cxn>
                  <a:cxn ang="0">
                    <a:pos x="342" y="521"/>
                  </a:cxn>
                  <a:cxn ang="0">
                    <a:pos x="325" y="549"/>
                  </a:cxn>
                  <a:cxn ang="0">
                    <a:pos x="229" y="546"/>
                  </a:cxn>
                  <a:cxn ang="0">
                    <a:pos x="217" y="548"/>
                  </a:cxn>
                  <a:cxn ang="0">
                    <a:pos x="179" y="543"/>
                  </a:cxn>
                  <a:cxn ang="0">
                    <a:pos x="161" y="540"/>
                  </a:cxn>
                  <a:cxn ang="0">
                    <a:pos x="144" y="531"/>
                  </a:cxn>
                  <a:cxn ang="0">
                    <a:pos x="129" y="515"/>
                  </a:cxn>
                  <a:cxn ang="0">
                    <a:pos x="119" y="496"/>
                  </a:cxn>
                  <a:cxn ang="0">
                    <a:pos x="113" y="472"/>
                  </a:cxn>
                  <a:cxn ang="0">
                    <a:pos x="100" y="460"/>
                  </a:cxn>
                  <a:cxn ang="0">
                    <a:pos x="83" y="447"/>
                  </a:cxn>
                  <a:cxn ang="0">
                    <a:pos x="63" y="432"/>
                  </a:cxn>
                  <a:cxn ang="0">
                    <a:pos x="39" y="429"/>
                  </a:cxn>
                  <a:cxn ang="0">
                    <a:pos x="0" y="438"/>
                  </a:cxn>
                </a:cxnLst>
                <a:rect l="0" t="0" r="r" b="b"/>
                <a:pathLst>
                  <a:path w="671" h="549">
                    <a:moveTo>
                      <a:pt x="0" y="438"/>
                    </a:moveTo>
                    <a:lnTo>
                      <a:pt x="4" y="405"/>
                    </a:lnTo>
                    <a:lnTo>
                      <a:pt x="6" y="383"/>
                    </a:lnTo>
                    <a:lnTo>
                      <a:pt x="7" y="360"/>
                    </a:lnTo>
                    <a:lnTo>
                      <a:pt x="7" y="327"/>
                    </a:lnTo>
                    <a:lnTo>
                      <a:pt x="8" y="316"/>
                    </a:lnTo>
                    <a:lnTo>
                      <a:pt x="9" y="306"/>
                    </a:lnTo>
                    <a:lnTo>
                      <a:pt x="12" y="296"/>
                    </a:lnTo>
                    <a:lnTo>
                      <a:pt x="17" y="287"/>
                    </a:lnTo>
                    <a:lnTo>
                      <a:pt x="28" y="270"/>
                    </a:lnTo>
                    <a:lnTo>
                      <a:pt x="40" y="254"/>
                    </a:lnTo>
                    <a:lnTo>
                      <a:pt x="52" y="238"/>
                    </a:lnTo>
                    <a:lnTo>
                      <a:pt x="63" y="222"/>
                    </a:lnTo>
                    <a:lnTo>
                      <a:pt x="67" y="214"/>
                    </a:lnTo>
                    <a:lnTo>
                      <a:pt x="71" y="205"/>
                    </a:lnTo>
                    <a:lnTo>
                      <a:pt x="73" y="196"/>
                    </a:lnTo>
                    <a:lnTo>
                      <a:pt x="73" y="185"/>
                    </a:lnTo>
                    <a:lnTo>
                      <a:pt x="73" y="167"/>
                    </a:lnTo>
                    <a:lnTo>
                      <a:pt x="73" y="156"/>
                    </a:lnTo>
                    <a:lnTo>
                      <a:pt x="73" y="148"/>
                    </a:lnTo>
                    <a:lnTo>
                      <a:pt x="73" y="137"/>
                    </a:lnTo>
                    <a:lnTo>
                      <a:pt x="63" y="126"/>
                    </a:lnTo>
                    <a:lnTo>
                      <a:pt x="53" y="117"/>
                    </a:lnTo>
                    <a:lnTo>
                      <a:pt x="54" y="108"/>
                    </a:lnTo>
                    <a:lnTo>
                      <a:pt x="55" y="99"/>
                    </a:lnTo>
                    <a:lnTo>
                      <a:pt x="57" y="89"/>
                    </a:lnTo>
                    <a:lnTo>
                      <a:pt x="61" y="79"/>
                    </a:lnTo>
                    <a:lnTo>
                      <a:pt x="65" y="68"/>
                    </a:lnTo>
                    <a:lnTo>
                      <a:pt x="71" y="59"/>
                    </a:lnTo>
                    <a:lnTo>
                      <a:pt x="76" y="50"/>
                    </a:lnTo>
                    <a:lnTo>
                      <a:pt x="83" y="41"/>
                    </a:lnTo>
                    <a:lnTo>
                      <a:pt x="89" y="33"/>
                    </a:lnTo>
                    <a:lnTo>
                      <a:pt x="96" y="25"/>
                    </a:lnTo>
                    <a:lnTo>
                      <a:pt x="104" y="17"/>
                    </a:lnTo>
                    <a:lnTo>
                      <a:pt x="112" y="12"/>
                    </a:lnTo>
                    <a:lnTo>
                      <a:pt x="120" y="7"/>
                    </a:lnTo>
                    <a:lnTo>
                      <a:pt x="129" y="3"/>
                    </a:lnTo>
                    <a:lnTo>
                      <a:pt x="138" y="1"/>
                    </a:lnTo>
                    <a:lnTo>
                      <a:pt x="146" y="0"/>
                    </a:lnTo>
                    <a:lnTo>
                      <a:pt x="156" y="1"/>
                    </a:lnTo>
                    <a:lnTo>
                      <a:pt x="164" y="3"/>
                    </a:lnTo>
                    <a:lnTo>
                      <a:pt x="173" y="5"/>
                    </a:lnTo>
                    <a:lnTo>
                      <a:pt x="179" y="8"/>
                    </a:lnTo>
                    <a:lnTo>
                      <a:pt x="194" y="16"/>
                    </a:lnTo>
                    <a:lnTo>
                      <a:pt x="206" y="26"/>
                    </a:lnTo>
                    <a:lnTo>
                      <a:pt x="217" y="35"/>
                    </a:lnTo>
                    <a:lnTo>
                      <a:pt x="230" y="42"/>
                    </a:lnTo>
                    <a:lnTo>
                      <a:pt x="236" y="45"/>
                    </a:lnTo>
                    <a:lnTo>
                      <a:pt x="243" y="48"/>
                    </a:lnTo>
                    <a:lnTo>
                      <a:pt x="251" y="49"/>
                    </a:lnTo>
                    <a:lnTo>
                      <a:pt x="259" y="50"/>
                    </a:lnTo>
                    <a:lnTo>
                      <a:pt x="264" y="49"/>
                    </a:lnTo>
                    <a:lnTo>
                      <a:pt x="268" y="47"/>
                    </a:lnTo>
                    <a:lnTo>
                      <a:pt x="272" y="44"/>
                    </a:lnTo>
                    <a:lnTo>
                      <a:pt x="276" y="41"/>
                    </a:lnTo>
                    <a:lnTo>
                      <a:pt x="279" y="37"/>
                    </a:lnTo>
                    <a:lnTo>
                      <a:pt x="284" y="35"/>
                    </a:lnTo>
                    <a:lnTo>
                      <a:pt x="288" y="32"/>
                    </a:lnTo>
                    <a:lnTo>
                      <a:pt x="292" y="32"/>
                    </a:lnTo>
                    <a:lnTo>
                      <a:pt x="300" y="32"/>
                    </a:lnTo>
                    <a:lnTo>
                      <a:pt x="308" y="34"/>
                    </a:lnTo>
                    <a:lnTo>
                      <a:pt x="313" y="36"/>
                    </a:lnTo>
                    <a:lnTo>
                      <a:pt x="318" y="39"/>
                    </a:lnTo>
                    <a:lnTo>
                      <a:pt x="325" y="47"/>
                    </a:lnTo>
                    <a:lnTo>
                      <a:pt x="332" y="56"/>
                    </a:lnTo>
                    <a:lnTo>
                      <a:pt x="337" y="65"/>
                    </a:lnTo>
                    <a:lnTo>
                      <a:pt x="344" y="73"/>
                    </a:lnTo>
                    <a:lnTo>
                      <a:pt x="348" y="76"/>
                    </a:lnTo>
                    <a:lnTo>
                      <a:pt x="353" y="79"/>
                    </a:lnTo>
                    <a:lnTo>
                      <a:pt x="358" y="81"/>
                    </a:lnTo>
                    <a:lnTo>
                      <a:pt x="366" y="81"/>
                    </a:lnTo>
                    <a:lnTo>
                      <a:pt x="370" y="81"/>
                    </a:lnTo>
                    <a:lnTo>
                      <a:pt x="375" y="80"/>
                    </a:lnTo>
                    <a:lnTo>
                      <a:pt x="378" y="77"/>
                    </a:lnTo>
                    <a:lnTo>
                      <a:pt x="381" y="75"/>
                    </a:lnTo>
                    <a:lnTo>
                      <a:pt x="387" y="70"/>
                    </a:lnTo>
                    <a:lnTo>
                      <a:pt x="392" y="63"/>
                    </a:lnTo>
                    <a:lnTo>
                      <a:pt x="397" y="56"/>
                    </a:lnTo>
                    <a:lnTo>
                      <a:pt x="403" y="49"/>
                    </a:lnTo>
                    <a:lnTo>
                      <a:pt x="410" y="43"/>
                    </a:lnTo>
                    <a:lnTo>
                      <a:pt x="419" y="38"/>
                    </a:lnTo>
                    <a:lnTo>
                      <a:pt x="433" y="30"/>
                    </a:lnTo>
                    <a:lnTo>
                      <a:pt x="446" y="25"/>
                    </a:lnTo>
                    <a:lnTo>
                      <a:pt x="458" y="22"/>
                    </a:lnTo>
                    <a:lnTo>
                      <a:pt x="468" y="21"/>
                    </a:lnTo>
                    <a:lnTo>
                      <a:pt x="478" y="22"/>
                    </a:lnTo>
                    <a:lnTo>
                      <a:pt x="487" y="25"/>
                    </a:lnTo>
                    <a:lnTo>
                      <a:pt x="496" y="28"/>
                    </a:lnTo>
                    <a:lnTo>
                      <a:pt x="503" y="31"/>
                    </a:lnTo>
                    <a:lnTo>
                      <a:pt x="511" y="35"/>
                    </a:lnTo>
                    <a:lnTo>
                      <a:pt x="520" y="38"/>
                    </a:lnTo>
                    <a:lnTo>
                      <a:pt x="528" y="41"/>
                    </a:lnTo>
                    <a:lnTo>
                      <a:pt x="537" y="43"/>
                    </a:lnTo>
                    <a:lnTo>
                      <a:pt x="547" y="43"/>
                    </a:lnTo>
                    <a:lnTo>
                      <a:pt x="559" y="42"/>
                    </a:lnTo>
                    <a:lnTo>
                      <a:pt x="571" y="39"/>
                    </a:lnTo>
                    <a:lnTo>
                      <a:pt x="586" y="33"/>
                    </a:lnTo>
                    <a:lnTo>
                      <a:pt x="632" y="74"/>
                    </a:lnTo>
                    <a:lnTo>
                      <a:pt x="646" y="67"/>
                    </a:lnTo>
                    <a:lnTo>
                      <a:pt x="651" y="81"/>
                    </a:lnTo>
                    <a:lnTo>
                      <a:pt x="658" y="93"/>
                    </a:lnTo>
                    <a:lnTo>
                      <a:pt x="665" y="105"/>
                    </a:lnTo>
                    <a:lnTo>
                      <a:pt x="671" y="117"/>
                    </a:lnTo>
                    <a:lnTo>
                      <a:pt x="646" y="152"/>
                    </a:lnTo>
                    <a:lnTo>
                      <a:pt x="623" y="183"/>
                    </a:lnTo>
                    <a:lnTo>
                      <a:pt x="612" y="199"/>
                    </a:lnTo>
                    <a:lnTo>
                      <a:pt x="602" y="216"/>
                    </a:lnTo>
                    <a:lnTo>
                      <a:pt x="593" y="233"/>
                    </a:lnTo>
                    <a:lnTo>
                      <a:pt x="584" y="254"/>
                    </a:lnTo>
                    <a:lnTo>
                      <a:pt x="578" y="273"/>
                    </a:lnTo>
                    <a:lnTo>
                      <a:pt x="570" y="291"/>
                    </a:lnTo>
                    <a:lnTo>
                      <a:pt x="564" y="309"/>
                    </a:lnTo>
                    <a:lnTo>
                      <a:pt x="557" y="326"/>
                    </a:lnTo>
                    <a:lnTo>
                      <a:pt x="550" y="343"/>
                    </a:lnTo>
                    <a:lnTo>
                      <a:pt x="543" y="363"/>
                    </a:lnTo>
                    <a:lnTo>
                      <a:pt x="534" y="383"/>
                    </a:lnTo>
                    <a:lnTo>
                      <a:pt x="525" y="407"/>
                    </a:lnTo>
                    <a:lnTo>
                      <a:pt x="524" y="410"/>
                    </a:lnTo>
                    <a:lnTo>
                      <a:pt x="521" y="416"/>
                    </a:lnTo>
                    <a:lnTo>
                      <a:pt x="516" y="422"/>
                    </a:lnTo>
                    <a:lnTo>
                      <a:pt x="511" y="428"/>
                    </a:lnTo>
                    <a:lnTo>
                      <a:pt x="505" y="434"/>
                    </a:lnTo>
                    <a:lnTo>
                      <a:pt x="500" y="439"/>
                    </a:lnTo>
                    <a:lnTo>
                      <a:pt x="496" y="443"/>
                    </a:lnTo>
                    <a:lnTo>
                      <a:pt x="492" y="444"/>
                    </a:lnTo>
                    <a:lnTo>
                      <a:pt x="482" y="443"/>
                    </a:lnTo>
                    <a:lnTo>
                      <a:pt x="474" y="440"/>
                    </a:lnTo>
                    <a:lnTo>
                      <a:pt x="466" y="436"/>
                    </a:lnTo>
                    <a:lnTo>
                      <a:pt x="459" y="432"/>
                    </a:lnTo>
                    <a:lnTo>
                      <a:pt x="453" y="428"/>
                    </a:lnTo>
                    <a:lnTo>
                      <a:pt x="446" y="424"/>
                    </a:lnTo>
                    <a:lnTo>
                      <a:pt x="440" y="421"/>
                    </a:lnTo>
                    <a:lnTo>
                      <a:pt x="432" y="420"/>
                    </a:lnTo>
                    <a:lnTo>
                      <a:pt x="419" y="421"/>
                    </a:lnTo>
                    <a:lnTo>
                      <a:pt x="408" y="424"/>
                    </a:lnTo>
                    <a:lnTo>
                      <a:pt x="398" y="428"/>
                    </a:lnTo>
                    <a:lnTo>
                      <a:pt x="389" y="434"/>
                    </a:lnTo>
                    <a:lnTo>
                      <a:pt x="381" y="441"/>
                    </a:lnTo>
                    <a:lnTo>
                      <a:pt x="375" y="449"/>
                    </a:lnTo>
                    <a:lnTo>
                      <a:pt x="369" y="458"/>
                    </a:lnTo>
                    <a:lnTo>
                      <a:pt x="364" y="469"/>
                    </a:lnTo>
                    <a:lnTo>
                      <a:pt x="355" y="489"/>
                    </a:lnTo>
                    <a:lnTo>
                      <a:pt x="346" y="510"/>
                    </a:lnTo>
                    <a:lnTo>
                      <a:pt x="342" y="521"/>
                    </a:lnTo>
                    <a:lnTo>
                      <a:pt x="336" y="531"/>
                    </a:lnTo>
                    <a:lnTo>
                      <a:pt x="332" y="541"/>
                    </a:lnTo>
                    <a:lnTo>
                      <a:pt x="325" y="549"/>
                    </a:lnTo>
                    <a:lnTo>
                      <a:pt x="233" y="543"/>
                    </a:lnTo>
                    <a:lnTo>
                      <a:pt x="231" y="545"/>
                    </a:lnTo>
                    <a:lnTo>
                      <a:pt x="229" y="546"/>
                    </a:lnTo>
                    <a:lnTo>
                      <a:pt x="227" y="547"/>
                    </a:lnTo>
                    <a:lnTo>
                      <a:pt x="223" y="548"/>
                    </a:lnTo>
                    <a:lnTo>
                      <a:pt x="217" y="548"/>
                    </a:lnTo>
                    <a:lnTo>
                      <a:pt x="209" y="547"/>
                    </a:lnTo>
                    <a:lnTo>
                      <a:pt x="193" y="545"/>
                    </a:lnTo>
                    <a:lnTo>
                      <a:pt x="179" y="543"/>
                    </a:lnTo>
                    <a:lnTo>
                      <a:pt x="173" y="543"/>
                    </a:lnTo>
                    <a:lnTo>
                      <a:pt x="167" y="542"/>
                    </a:lnTo>
                    <a:lnTo>
                      <a:pt x="161" y="540"/>
                    </a:lnTo>
                    <a:lnTo>
                      <a:pt x="155" y="537"/>
                    </a:lnTo>
                    <a:lnTo>
                      <a:pt x="150" y="534"/>
                    </a:lnTo>
                    <a:lnTo>
                      <a:pt x="144" y="531"/>
                    </a:lnTo>
                    <a:lnTo>
                      <a:pt x="139" y="527"/>
                    </a:lnTo>
                    <a:lnTo>
                      <a:pt x="134" y="521"/>
                    </a:lnTo>
                    <a:lnTo>
                      <a:pt x="129" y="515"/>
                    </a:lnTo>
                    <a:lnTo>
                      <a:pt x="126" y="509"/>
                    </a:lnTo>
                    <a:lnTo>
                      <a:pt x="122" y="503"/>
                    </a:lnTo>
                    <a:lnTo>
                      <a:pt x="119" y="496"/>
                    </a:lnTo>
                    <a:lnTo>
                      <a:pt x="117" y="489"/>
                    </a:lnTo>
                    <a:lnTo>
                      <a:pt x="115" y="481"/>
                    </a:lnTo>
                    <a:lnTo>
                      <a:pt x="113" y="472"/>
                    </a:lnTo>
                    <a:lnTo>
                      <a:pt x="113" y="462"/>
                    </a:lnTo>
                    <a:lnTo>
                      <a:pt x="106" y="462"/>
                    </a:lnTo>
                    <a:lnTo>
                      <a:pt x="100" y="460"/>
                    </a:lnTo>
                    <a:lnTo>
                      <a:pt x="95" y="457"/>
                    </a:lnTo>
                    <a:lnTo>
                      <a:pt x="90" y="454"/>
                    </a:lnTo>
                    <a:lnTo>
                      <a:pt x="83" y="447"/>
                    </a:lnTo>
                    <a:lnTo>
                      <a:pt x="74" y="439"/>
                    </a:lnTo>
                    <a:lnTo>
                      <a:pt x="70" y="435"/>
                    </a:lnTo>
                    <a:lnTo>
                      <a:pt x="63" y="432"/>
                    </a:lnTo>
                    <a:lnTo>
                      <a:pt x="56" y="430"/>
                    </a:lnTo>
                    <a:lnTo>
                      <a:pt x="49" y="429"/>
                    </a:lnTo>
                    <a:lnTo>
                      <a:pt x="39" y="429"/>
                    </a:lnTo>
                    <a:lnTo>
                      <a:pt x="28" y="430"/>
                    </a:lnTo>
                    <a:lnTo>
                      <a:pt x="15" y="433"/>
                    </a:lnTo>
                    <a:lnTo>
                      <a:pt x="0" y="438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11" name="Freeform 33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5276490" y="2856680"/>
                <a:ext cx="320630" cy="302154"/>
              </a:xfrm>
              <a:custGeom>
                <a:avLst/>
                <a:gdLst/>
                <a:ahLst/>
                <a:cxnLst>
                  <a:cxn ang="0">
                    <a:pos x="326" y="324"/>
                  </a:cxn>
                  <a:cxn ang="0">
                    <a:pos x="331" y="321"/>
                  </a:cxn>
                  <a:cxn ang="0">
                    <a:pos x="337" y="318"/>
                  </a:cxn>
                  <a:cxn ang="0">
                    <a:pos x="346" y="318"/>
                  </a:cxn>
                  <a:cxn ang="0">
                    <a:pos x="356" y="324"/>
                  </a:cxn>
                  <a:cxn ang="0">
                    <a:pos x="319" y="285"/>
                  </a:cxn>
                  <a:cxn ang="0">
                    <a:pos x="278" y="235"/>
                  </a:cxn>
                  <a:cxn ang="0">
                    <a:pos x="253" y="204"/>
                  </a:cxn>
                  <a:cxn ang="0">
                    <a:pos x="232" y="186"/>
                  </a:cxn>
                  <a:cxn ang="0">
                    <a:pos x="219" y="181"/>
                  </a:cxn>
                  <a:cxn ang="0">
                    <a:pos x="208" y="180"/>
                  </a:cxn>
                  <a:cxn ang="0">
                    <a:pos x="201" y="179"/>
                  </a:cxn>
                  <a:cxn ang="0">
                    <a:pos x="199" y="174"/>
                  </a:cxn>
                  <a:cxn ang="0">
                    <a:pos x="198" y="170"/>
                  </a:cxn>
                  <a:cxn ang="0">
                    <a:pos x="195" y="169"/>
                  </a:cxn>
                  <a:cxn ang="0">
                    <a:pos x="184" y="172"/>
                  </a:cxn>
                  <a:cxn ang="0">
                    <a:pos x="171" y="172"/>
                  </a:cxn>
                  <a:cxn ang="0">
                    <a:pos x="165" y="168"/>
                  </a:cxn>
                  <a:cxn ang="0">
                    <a:pos x="160" y="161"/>
                  </a:cxn>
                  <a:cxn ang="0">
                    <a:pos x="152" y="144"/>
                  </a:cxn>
                  <a:cxn ang="0">
                    <a:pos x="143" y="131"/>
                  </a:cxn>
                  <a:cxn ang="0">
                    <a:pos x="133" y="119"/>
                  </a:cxn>
                  <a:cxn ang="0">
                    <a:pos x="127" y="105"/>
                  </a:cxn>
                  <a:cxn ang="0">
                    <a:pos x="122" y="84"/>
                  </a:cxn>
                  <a:cxn ang="0">
                    <a:pos x="119" y="53"/>
                  </a:cxn>
                  <a:cxn ang="0">
                    <a:pos x="117" y="23"/>
                  </a:cxn>
                  <a:cxn ang="0">
                    <a:pos x="112" y="0"/>
                  </a:cxn>
                  <a:cxn ang="0">
                    <a:pos x="73" y="26"/>
                  </a:cxn>
                  <a:cxn ang="0">
                    <a:pos x="61" y="33"/>
                  </a:cxn>
                  <a:cxn ang="0">
                    <a:pos x="33" y="50"/>
                  </a:cxn>
                  <a:cxn ang="0">
                    <a:pos x="21" y="61"/>
                  </a:cxn>
                  <a:cxn ang="0">
                    <a:pos x="17" y="72"/>
                  </a:cxn>
                  <a:cxn ang="0">
                    <a:pos x="16" y="83"/>
                  </a:cxn>
                  <a:cxn ang="0">
                    <a:pos x="20" y="93"/>
                  </a:cxn>
                  <a:cxn ang="0">
                    <a:pos x="22" y="100"/>
                  </a:cxn>
                  <a:cxn ang="0">
                    <a:pos x="20" y="110"/>
                  </a:cxn>
                  <a:cxn ang="0">
                    <a:pos x="15" y="123"/>
                  </a:cxn>
                  <a:cxn ang="0">
                    <a:pos x="7" y="136"/>
                  </a:cxn>
                  <a:cxn ang="0">
                    <a:pos x="0" y="155"/>
                  </a:cxn>
                  <a:cxn ang="0">
                    <a:pos x="0" y="174"/>
                  </a:cxn>
                  <a:cxn ang="0">
                    <a:pos x="5" y="182"/>
                  </a:cxn>
                  <a:cxn ang="0">
                    <a:pos x="11" y="187"/>
                  </a:cxn>
                  <a:cxn ang="0">
                    <a:pos x="20" y="186"/>
                  </a:cxn>
                  <a:cxn ang="0">
                    <a:pos x="44" y="168"/>
                  </a:cxn>
                  <a:cxn ang="0">
                    <a:pos x="60" y="161"/>
                  </a:cxn>
                  <a:cxn ang="0">
                    <a:pos x="76" y="150"/>
                  </a:cxn>
                  <a:cxn ang="0">
                    <a:pos x="93" y="159"/>
                  </a:cxn>
                  <a:cxn ang="0">
                    <a:pos x="110" y="164"/>
                  </a:cxn>
                  <a:cxn ang="0">
                    <a:pos x="142" y="180"/>
                  </a:cxn>
                  <a:cxn ang="0">
                    <a:pos x="163" y="190"/>
                  </a:cxn>
                  <a:cxn ang="0">
                    <a:pos x="196" y="209"/>
                  </a:cxn>
                  <a:cxn ang="0">
                    <a:pos x="219" y="225"/>
                  </a:cxn>
                  <a:cxn ang="0">
                    <a:pos x="245" y="244"/>
                  </a:cxn>
                  <a:cxn ang="0">
                    <a:pos x="256" y="254"/>
                  </a:cxn>
                  <a:cxn ang="0">
                    <a:pos x="267" y="270"/>
                  </a:cxn>
                  <a:cxn ang="0">
                    <a:pos x="269" y="279"/>
                  </a:cxn>
                  <a:cxn ang="0">
                    <a:pos x="269" y="286"/>
                  </a:cxn>
                  <a:cxn ang="0">
                    <a:pos x="270" y="290"/>
                  </a:cxn>
                  <a:cxn ang="0">
                    <a:pos x="276" y="292"/>
                  </a:cxn>
                  <a:cxn ang="0">
                    <a:pos x="292" y="302"/>
                  </a:cxn>
                  <a:cxn ang="0">
                    <a:pos x="318" y="321"/>
                  </a:cxn>
                </a:cxnLst>
                <a:rect l="0" t="0" r="r" b="b"/>
                <a:pathLst>
                  <a:path w="358" h="327">
                    <a:moveTo>
                      <a:pt x="325" y="327"/>
                    </a:moveTo>
                    <a:lnTo>
                      <a:pt x="326" y="324"/>
                    </a:lnTo>
                    <a:lnTo>
                      <a:pt x="329" y="322"/>
                    </a:lnTo>
                    <a:lnTo>
                      <a:pt x="331" y="321"/>
                    </a:lnTo>
                    <a:lnTo>
                      <a:pt x="332" y="321"/>
                    </a:lnTo>
                    <a:lnTo>
                      <a:pt x="337" y="318"/>
                    </a:lnTo>
                    <a:lnTo>
                      <a:pt x="342" y="317"/>
                    </a:lnTo>
                    <a:lnTo>
                      <a:pt x="346" y="318"/>
                    </a:lnTo>
                    <a:lnTo>
                      <a:pt x="351" y="319"/>
                    </a:lnTo>
                    <a:lnTo>
                      <a:pt x="356" y="324"/>
                    </a:lnTo>
                    <a:lnTo>
                      <a:pt x="358" y="327"/>
                    </a:lnTo>
                    <a:lnTo>
                      <a:pt x="319" y="285"/>
                    </a:lnTo>
                    <a:lnTo>
                      <a:pt x="302" y="265"/>
                    </a:lnTo>
                    <a:lnTo>
                      <a:pt x="278" y="235"/>
                    </a:lnTo>
                    <a:lnTo>
                      <a:pt x="265" y="219"/>
                    </a:lnTo>
                    <a:lnTo>
                      <a:pt x="253" y="204"/>
                    </a:lnTo>
                    <a:lnTo>
                      <a:pt x="241" y="193"/>
                    </a:lnTo>
                    <a:lnTo>
                      <a:pt x="232" y="186"/>
                    </a:lnTo>
                    <a:lnTo>
                      <a:pt x="225" y="182"/>
                    </a:lnTo>
                    <a:lnTo>
                      <a:pt x="219" y="181"/>
                    </a:lnTo>
                    <a:lnTo>
                      <a:pt x="213" y="180"/>
                    </a:lnTo>
                    <a:lnTo>
                      <a:pt x="208" y="180"/>
                    </a:lnTo>
                    <a:lnTo>
                      <a:pt x="205" y="180"/>
                    </a:lnTo>
                    <a:lnTo>
                      <a:pt x="201" y="179"/>
                    </a:lnTo>
                    <a:lnTo>
                      <a:pt x="200" y="177"/>
                    </a:lnTo>
                    <a:lnTo>
                      <a:pt x="199" y="174"/>
                    </a:lnTo>
                    <a:lnTo>
                      <a:pt x="199" y="172"/>
                    </a:lnTo>
                    <a:lnTo>
                      <a:pt x="198" y="170"/>
                    </a:lnTo>
                    <a:lnTo>
                      <a:pt x="197" y="169"/>
                    </a:lnTo>
                    <a:lnTo>
                      <a:pt x="195" y="169"/>
                    </a:lnTo>
                    <a:lnTo>
                      <a:pt x="190" y="170"/>
                    </a:lnTo>
                    <a:lnTo>
                      <a:pt x="184" y="172"/>
                    </a:lnTo>
                    <a:lnTo>
                      <a:pt x="178" y="173"/>
                    </a:lnTo>
                    <a:lnTo>
                      <a:pt x="171" y="172"/>
                    </a:lnTo>
                    <a:lnTo>
                      <a:pt x="168" y="170"/>
                    </a:lnTo>
                    <a:lnTo>
                      <a:pt x="165" y="168"/>
                    </a:lnTo>
                    <a:lnTo>
                      <a:pt x="162" y="165"/>
                    </a:lnTo>
                    <a:lnTo>
                      <a:pt x="160" y="161"/>
                    </a:lnTo>
                    <a:lnTo>
                      <a:pt x="156" y="152"/>
                    </a:lnTo>
                    <a:lnTo>
                      <a:pt x="152" y="144"/>
                    </a:lnTo>
                    <a:lnTo>
                      <a:pt x="147" y="138"/>
                    </a:lnTo>
                    <a:lnTo>
                      <a:pt x="143" y="131"/>
                    </a:lnTo>
                    <a:lnTo>
                      <a:pt x="138" y="125"/>
                    </a:lnTo>
                    <a:lnTo>
                      <a:pt x="133" y="119"/>
                    </a:lnTo>
                    <a:lnTo>
                      <a:pt x="129" y="112"/>
                    </a:lnTo>
                    <a:lnTo>
                      <a:pt x="127" y="105"/>
                    </a:lnTo>
                    <a:lnTo>
                      <a:pt x="123" y="96"/>
                    </a:lnTo>
                    <a:lnTo>
                      <a:pt x="122" y="84"/>
                    </a:lnTo>
                    <a:lnTo>
                      <a:pt x="121" y="69"/>
                    </a:lnTo>
                    <a:lnTo>
                      <a:pt x="119" y="53"/>
                    </a:lnTo>
                    <a:lnTo>
                      <a:pt x="118" y="37"/>
                    </a:lnTo>
                    <a:lnTo>
                      <a:pt x="117" y="23"/>
                    </a:lnTo>
                    <a:lnTo>
                      <a:pt x="115" y="10"/>
                    </a:lnTo>
                    <a:lnTo>
                      <a:pt x="112" y="0"/>
                    </a:lnTo>
                    <a:lnTo>
                      <a:pt x="93" y="0"/>
                    </a:lnTo>
                    <a:lnTo>
                      <a:pt x="73" y="26"/>
                    </a:lnTo>
                    <a:lnTo>
                      <a:pt x="70" y="28"/>
                    </a:lnTo>
                    <a:lnTo>
                      <a:pt x="61" y="33"/>
                    </a:lnTo>
                    <a:lnTo>
                      <a:pt x="48" y="41"/>
                    </a:lnTo>
                    <a:lnTo>
                      <a:pt x="33" y="50"/>
                    </a:lnTo>
                    <a:lnTo>
                      <a:pt x="27" y="55"/>
                    </a:lnTo>
                    <a:lnTo>
                      <a:pt x="21" y="61"/>
                    </a:lnTo>
                    <a:lnTo>
                      <a:pt x="18" y="66"/>
                    </a:lnTo>
                    <a:lnTo>
                      <a:pt x="17" y="72"/>
                    </a:lnTo>
                    <a:lnTo>
                      <a:pt x="16" y="78"/>
                    </a:lnTo>
                    <a:lnTo>
                      <a:pt x="16" y="83"/>
                    </a:lnTo>
                    <a:lnTo>
                      <a:pt x="18" y="88"/>
                    </a:lnTo>
                    <a:lnTo>
                      <a:pt x="20" y="93"/>
                    </a:lnTo>
                    <a:lnTo>
                      <a:pt x="21" y="96"/>
                    </a:lnTo>
                    <a:lnTo>
                      <a:pt x="22" y="100"/>
                    </a:lnTo>
                    <a:lnTo>
                      <a:pt x="22" y="104"/>
                    </a:lnTo>
                    <a:lnTo>
                      <a:pt x="20" y="110"/>
                    </a:lnTo>
                    <a:lnTo>
                      <a:pt x="18" y="117"/>
                    </a:lnTo>
                    <a:lnTo>
                      <a:pt x="15" y="123"/>
                    </a:lnTo>
                    <a:lnTo>
                      <a:pt x="11" y="130"/>
                    </a:lnTo>
                    <a:lnTo>
                      <a:pt x="7" y="136"/>
                    </a:lnTo>
                    <a:lnTo>
                      <a:pt x="3" y="146"/>
                    </a:lnTo>
                    <a:lnTo>
                      <a:pt x="0" y="155"/>
                    </a:lnTo>
                    <a:lnTo>
                      <a:pt x="0" y="164"/>
                    </a:lnTo>
                    <a:lnTo>
                      <a:pt x="0" y="174"/>
                    </a:lnTo>
                    <a:lnTo>
                      <a:pt x="1" y="176"/>
                    </a:lnTo>
                    <a:lnTo>
                      <a:pt x="5" y="182"/>
                    </a:lnTo>
                    <a:lnTo>
                      <a:pt x="8" y="185"/>
                    </a:lnTo>
                    <a:lnTo>
                      <a:pt x="11" y="187"/>
                    </a:lnTo>
                    <a:lnTo>
                      <a:pt x="15" y="187"/>
                    </a:lnTo>
                    <a:lnTo>
                      <a:pt x="20" y="186"/>
                    </a:lnTo>
                    <a:lnTo>
                      <a:pt x="31" y="177"/>
                    </a:lnTo>
                    <a:lnTo>
                      <a:pt x="44" y="168"/>
                    </a:lnTo>
                    <a:lnTo>
                      <a:pt x="55" y="163"/>
                    </a:lnTo>
                    <a:lnTo>
                      <a:pt x="60" y="161"/>
                    </a:lnTo>
                    <a:lnTo>
                      <a:pt x="73" y="149"/>
                    </a:lnTo>
                    <a:lnTo>
                      <a:pt x="76" y="150"/>
                    </a:lnTo>
                    <a:lnTo>
                      <a:pt x="84" y="155"/>
                    </a:lnTo>
                    <a:lnTo>
                      <a:pt x="93" y="159"/>
                    </a:lnTo>
                    <a:lnTo>
                      <a:pt x="99" y="161"/>
                    </a:lnTo>
                    <a:lnTo>
                      <a:pt x="110" y="164"/>
                    </a:lnTo>
                    <a:lnTo>
                      <a:pt x="126" y="170"/>
                    </a:lnTo>
                    <a:lnTo>
                      <a:pt x="142" y="180"/>
                    </a:lnTo>
                    <a:lnTo>
                      <a:pt x="153" y="186"/>
                    </a:lnTo>
                    <a:lnTo>
                      <a:pt x="163" y="190"/>
                    </a:lnTo>
                    <a:lnTo>
                      <a:pt x="179" y="199"/>
                    </a:lnTo>
                    <a:lnTo>
                      <a:pt x="196" y="209"/>
                    </a:lnTo>
                    <a:lnTo>
                      <a:pt x="206" y="216"/>
                    </a:lnTo>
                    <a:lnTo>
                      <a:pt x="219" y="225"/>
                    </a:lnTo>
                    <a:lnTo>
                      <a:pt x="232" y="235"/>
                    </a:lnTo>
                    <a:lnTo>
                      <a:pt x="245" y="244"/>
                    </a:lnTo>
                    <a:lnTo>
                      <a:pt x="252" y="247"/>
                    </a:lnTo>
                    <a:lnTo>
                      <a:pt x="256" y="254"/>
                    </a:lnTo>
                    <a:lnTo>
                      <a:pt x="266" y="265"/>
                    </a:lnTo>
                    <a:lnTo>
                      <a:pt x="267" y="270"/>
                    </a:lnTo>
                    <a:lnTo>
                      <a:pt x="268" y="274"/>
                    </a:lnTo>
                    <a:lnTo>
                      <a:pt x="269" y="279"/>
                    </a:lnTo>
                    <a:lnTo>
                      <a:pt x="269" y="283"/>
                    </a:lnTo>
                    <a:lnTo>
                      <a:pt x="269" y="286"/>
                    </a:lnTo>
                    <a:lnTo>
                      <a:pt x="269" y="289"/>
                    </a:lnTo>
                    <a:lnTo>
                      <a:pt x="270" y="290"/>
                    </a:lnTo>
                    <a:lnTo>
                      <a:pt x="273" y="291"/>
                    </a:lnTo>
                    <a:lnTo>
                      <a:pt x="276" y="292"/>
                    </a:lnTo>
                    <a:lnTo>
                      <a:pt x="284" y="296"/>
                    </a:lnTo>
                    <a:lnTo>
                      <a:pt x="292" y="302"/>
                    </a:lnTo>
                    <a:lnTo>
                      <a:pt x="301" y="309"/>
                    </a:lnTo>
                    <a:lnTo>
                      <a:pt x="318" y="321"/>
                    </a:lnTo>
                    <a:lnTo>
                      <a:pt x="325" y="327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14" name="Freeform 235"/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2480997" y="2351209"/>
                <a:ext cx="644603" cy="694677"/>
              </a:xfrm>
              <a:custGeom>
                <a:avLst/>
                <a:gdLst/>
                <a:ahLst/>
                <a:cxnLst>
                  <a:cxn ang="0">
                    <a:pos x="94" y="246"/>
                  </a:cxn>
                  <a:cxn ang="0">
                    <a:pos x="96" y="243"/>
                  </a:cxn>
                  <a:cxn ang="0">
                    <a:pos x="98" y="238"/>
                  </a:cxn>
                  <a:cxn ang="0">
                    <a:pos x="100" y="232"/>
                  </a:cxn>
                  <a:cxn ang="0">
                    <a:pos x="103" y="231"/>
                  </a:cxn>
                  <a:cxn ang="0">
                    <a:pos x="104" y="238"/>
                  </a:cxn>
                  <a:cxn ang="0">
                    <a:pos x="106" y="241"/>
                  </a:cxn>
                  <a:cxn ang="0">
                    <a:pos x="108" y="242"/>
                  </a:cxn>
                  <a:cxn ang="0">
                    <a:pos x="110" y="242"/>
                  </a:cxn>
                  <a:cxn ang="0">
                    <a:pos x="113" y="241"/>
                  </a:cxn>
                  <a:cxn ang="0">
                    <a:pos x="116" y="238"/>
                  </a:cxn>
                  <a:cxn ang="0">
                    <a:pos x="216" y="234"/>
                  </a:cxn>
                  <a:cxn ang="0">
                    <a:pos x="213" y="204"/>
                  </a:cxn>
                  <a:cxn ang="0">
                    <a:pos x="207" y="138"/>
                  </a:cxn>
                  <a:cxn ang="0">
                    <a:pos x="201" y="73"/>
                  </a:cxn>
                  <a:cxn ang="0">
                    <a:pos x="198" y="43"/>
                  </a:cxn>
                  <a:cxn ang="0">
                    <a:pos x="215" y="44"/>
                  </a:cxn>
                  <a:cxn ang="0">
                    <a:pos x="232" y="46"/>
                  </a:cxn>
                  <a:cxn ang="0">
                    <a:pos x="161" y="2"/>
                  </a:cxn>
                  <a:cxn ang="0">
                    <a:pos x="160" y="8"/>
                  </a:cxn>
                  <a:cxn ang="0">
                    <a:pos x="161" y="18"/>
                  </a:cxn>
                  <a:cxn ang="0">
                    <a:pos x="98" y="24"/>
                  </a:cxn>
                  <a:cxn ang="0">
                    <a:pos x="98" y="74"/>
                  </a:cxn>
                  <a:cxn ang="0">
                    <a:pos x="95" y="76"/>
                  </a:cxn>
                  <a:cxn ang="0">
                    <a:pos x="87" y="78"/>
                  </a:cxn>
                  <a:cxn ang="0">
                    <a:pos x="72" y="82"/>
                  </a:cxn>
                  <a:cxn ang="0">
                    <a:pos x="74" y="88"/>
                  </a:cxn>
                  <a:cxn ang="0">
                    <a:pos x="78" y="96"/>
                  </a:cxn>
                  <a:cxn ang="0">
                    <a:pos x="80" y="105"/>
                  </a:cxn>
                  <a:cxn ang="0">
                    <a:pos x="81" y="115"/>
                  </a:cxn>
                  <a:cxn ang="0">
                    <a:pos x="9" y="119"/>
                  </a:cxn>
                  <a:cxn ang="0">
                    <a:pos x="5" y="130"/>
                  </a:cxn>
                  <a:cxn ang="0">
                    <a:pos x="6" y="143"/>
                  </a:cxn>
                  <a:cxn ang="0">
                    <a:pos x="8" y="155"/>
                  </a:cxn>
                  <a:cxn ang="0">
                    <a:pos x="9" y="168"/>
                  </a:cxn>
                  <a:cxn ang="0">
                    <a:pos x="9" y="182"/>
                  </a:cxn>
                  <a:cxn ang="0">
                    <a:pos x="8" y="194"/>
                  </a:cxn>
                  <a:cxn ang="0">
                    <a:pos x="6" y="206"/>
                  </a:cxn>
                  <a:cxn ang="0">
                    <a:pos x="2" y="216"/>
                  </a:cxn>
                  <a:cxn ang="0">
                    <a:pos x="2" y="219"/>
                  </a:cxn>
                  <a:cxn ang="0">
                    <a:pos x="3" y="220"/>
                  </a:cxn>
                  <a:cxn ang="0">
                    <a:pos x="3" y="222"/>
                  </a:cxn>
                  <a:cxn ang="0">
                    <a:pos x="7" y="217"/>
                  </a:cxn>
                  <a:cxn ang="0">
                    <a:pos x="18" y="213"/>
                  </a:cxn>
                  <a:cxn ang="0">
                    <a:pos x="36" y="207"/>
                  </a:cxn>
                  <a:cxn ang="0">
                    <a:pos x="45" y="208"/>
                  </a:cxn>
                  <a:cxn ang="0">
                    <a:pos x="51" y="212"/>
                  </a:cxn>
                  <a:cxn ang="0">
                    <a:pos x="56" y="214"/>
                  </a:cxn>
                  <a:cxn ang="0">
                    <a:pos x="62" y="215"/>
                  </a:cxn>
                  <a:cxn ang="0">
                    <a:pos x="66" y="219"/>
                  </a:cxn>
                  <a:cxn ang="0">
                    <a:pos x="67" y="225"/>
                  </a:cxn>
                  <a:cxn ang="0">
                    <a:pos x="70" y="231"/>
                  </a:cxn>
                  <a:cxn ang="0">
                    <a:pos x="74" y="235"/>
                  </a:cxn>
                  <a:cxn ang="0">
                    <a:pos x="85" y="243"/>
                  </a:cxn>
                </a:cxnLst>
                <a:rect l="0" t="0" r="r" b="b"/>
                <a:pathLst>
                  <a:path w="232" h="248">
                    <a:moveTo>
                      <a:pt x="91" y="248"/>
                    </a:moveTo>
                    <a:lnTo>
                      <a:pt x="94" y="246"/>
                    </a:lnTo>
                    <a:lnTo>
                      <a:pt x="95" y="245"/>
                    </a:lnTo>
                    <a:lnTo>
                      <a:pt x="96" y="243"/>
                    </a:lnTo>
                    <a:lnTo>
                      <a:pt x="97" y="240"/>
                    </a:lnTo>
                    <a:lnTo>
                      <a:pt x="98" y="238"/>
                    </a:lnTo>
                    <a:lnTo>
                      <a:pt x="99" y="235"/>
                    </a:lnTo>
                    <a:lnTo>
                      <a:pt x="100" y="232"/>
                    </a:lnTo>
                    <a:lnTo>
                      <a:pt x="103" y="230"/>
                    </a:lnTo>
                    <a:lnTo>
                      <a:pt x="103" y="231"/>
                    </a:lnTo>
                    <a:lnTo>
                      <a:pt x="103" y="236"/>
                    </a:lnTo>
                    <a:lnTo>
                      <a:pt x="104" y="238"/>
                    </a:lnTo>
                    <a:lnTo>
                      <a:pt x="105" y="240"/>
                    </a:lnTo>
                    <a:lnTo>
                      <a:pt x="106" y="241"/>
                    </a:lnTo>
                    <a:lnTo>
                      <a:pt x="107" y="241"/>
                    </a:lnTo>
                    <a:lnTo>
                      <a:pt x="108" y="242"/>
                    </a:lnTo>
                    <a:lnTo>
                      <a:pt x="109" y="242"/>
                    </a:lnTo>
                    <a:lnTo>
                      <a:pt x="110" y="242"/>
                    </a:lnTo>
                    <a:lnTo>
                      <a:pt x="112" y="241"/>
                    </a:lnTo>
                    <a:lnTo>
                      <a:pt x="113" y="241"/>
                    </a:lnTo>
                    <a:lnTo>
                      <a:pt x="114" y="240"/>
                    </a:lnTo>
                    <a:lnTo>
                      <a:pt x="116" y="238"/>
                    </a:lnTo>
                    <a:lnTo>
                      <a:pt x="118" y="236"/>
                    </a:lnTo>
                    <a:lnTo>
                      <a:pt x="216" y="234"/>
                    </a:lnTo>
                    <a:lnTo>
                      <a:pt x="215" y="225"/>
                    </a:lnTo>
                    <a:lnTo>
                      <a:pt x="213" y="204"/>
                    </a:lnTo>
                    <a:lnTo>
                      <a:pt x="210" y="173"/>
                    </a:lnTo>
                    <a:lnTo>
                      <a:pt x="207" y="138"/>
                    </a:lnTo>
                    <a:lnTo>
                      <a:pt x="204" y="103"/>
                    </a:lnTo>
                    <a:lnTo>
                      <a:pt x="201" y="73"/>
                    </a:lnTo>
                    <a:lnTo>
                      <a:pt x="199" y="51"/>
                    </a:lnTo>
                    <a:lnTo>
                      <a:pt x="198" y="43"/>
                    </a:lnTo>
                    <a:lnTo>
                      <a:pt x="203" y="43"/>
                    </a:lnTo>
                    <a:lnTo>
                      <a:pt x="215" y="44"/>
                    </a:lnTo>
                    <a:lnTo>
                      <a:pt x="226" y="45"/>
                    </a:lnTo>
                    <a:lnTo>
                      <a:pt x="232" y="46"/>
                    </a:lnTo>
                    <a:lnTo>
                      <a:pt x="161" y="0"/>
                    </a:lnTo>
                    <a:lnTo>
                      <a:pt x="161" y="2"/>
                    </a:lnTo>
                    <a:lnTo>
                      <a:pt x="160" y="5"/>
                    </a:lnTo>
                    <a:lnTo>
                      <a:pt x="160" y="8"/>
                    </a:lnTo>
                    <a:lnTo>
                      <a:pt x="161" y="11"/>
                    </a:lnTo>
                    <a:lnTo>
                      <a:pt x="161" y="18"/>
                    </a:lnTo>
                    <a:lnTo>
                      <a:pt x="161" y="24"/>
                    </a:lnTo>
                    <a:lnTo>
                      <a:pt x="98" y="24"/>
                    </a:lnTo>
                    <a:lnTo>
                      <a:pt x="94" y="22"/>
                    </a:lnTo>
                    <a:lnTo>
                      <a:pt x="98" y="74"/>
                    </a:lnTo>
                    <a:lnTo>
                      <a:pt x="97" y="75"/>
                    </a:lnTo>
                    <a:lnTo>
                      <a:pt x="95" y="76"/>
                    </a:lnTo>
                    <a:lnTo>
                      <a:pt x="91" y="77"/>
                    </a:lnTo>
                    <a:lnTo>
                      <a:pt x="87" y="78"/>
                    </a:lnTo>
                    <a:lnTo>
                      <a:pt x="78" y="80"/>
                    </a:lnTo>
                    <a:lnTo>
                      <a:pt x="72" y="82"/>
                    </a:lnTo>
                    <a:lnTo>
                      <a:pt x="73" y="85"/>
                    </a:lnTo>
                    <a:lnTo>
                      <a:pt x="74" y="88"/>
                    </a:lnTo>
                    <a:lnTo>
                      <a:pt x="76" y="92"/>
                    </a:lnTo>
                    <a:lnTo>
                      <a:pt x="78" y="96"/>
                    </a:lnTo>
                    <a:lnTo>
                      <a:pt x="79" y="99"/>
                    </a:lnTo>
                    <a:lnTo>
                      <a:pt x="80" y="105"/>
                    </a:lnTo>
                    <a:lnTo>
                      <a:pt x="80" y="112"/>
                    </a:lnTo>
                    <a:lnTo>
                      <a:pt x="81" y="115"/>
                    </a:lnTo>
                    <a:lnTo>
                      <a:pt x="13" y="115"/>
                    </a:lnTo>
                    <a:lnTo>
                      <a:pt x="9" y="119"/>
                    </a:lnTo>
                    <a:lnTo>
                      <a:pt x="4" y="123"/>
                    </a:lnTo>
                    <a:lnTo>
                      <a:pt x="5" y="130"/>
                    </a:lnTo>
                    <a:lnTo>
                      <a:pt x="5" y="137"/>
                    </a:lnTo>
                    <a:lnTo>
                      <a:pt x="6" y="143"/>
                    </a:lnTo>
                    <a:lnTo>
                      <a:pt x="7" y="149"/>
                    </a:lnTo>
                    <a:lnTo>
                      <a:pt x="8" y="155"/>
                    </a:lnTo>
                    <a:lnTo>
                      <a:pt x="8" y="161"/>
                    </a:lnTo>
                    <a:lnTo>
                      <a:pt x="9" y="168"/>
                    </a:lnTo>
                    <a:lnTo>
                      <a:pt x="9" y="176"/>
                    </a:lnTo>
                    <a:lnTo>
                      <a:pt x="9" y="182"/>
                    </a:lnTo>
                    <a:lnTo>
                      <a:pt x="8" y="188"/>
                    </a:lnTo>
                    <a:lnTo>
                      <a:pt x="8" y="194"/>
                    </a:lnTo>
                    <a:lnTo>
                      <a:pt x="7" y="200"/>
                    </a:lnTo>
                    <a:lnTo>
                      <a:pt x="6" y="206"/>
                    </a:lnTo>
                    <a:lnTo>
                      <a:pt x="4" y="211"/>
                    </a:lnTo>
                    <a:lnTo>
                      <a:pt x="2" y="216"/>
                    </a:lnTo>
                    <a:lnTo>
                      <a:pt x="0" y="221"/>
                    </a:lnTo>
                    <a:lnTo>
                      <a:pt x="2" y="219"/>
                    </a:lnTo>
                    <a:lnTo>
                      <a:pt x="3" y="219"/>
                    </a:lnTo>
                    <a:lnTo>
                      <a:pt x="3" y="220"/>
                    </a:lnTo>
                    <a:lnTo>
                      <a:pt x="3" y="221"/>
                    </a:lnTo>
                    <a:lnTo>
                      <a:pt x="3" y="222"/>
                    </a:lnTo>
                    <a:lnTo>
                      <a:pt x="4" y="217"/>
                    </a:lnTo>
                    <a:lnTo>
                      <a:pt x="7" y="217"/>
                    </a:lnTo>
                    <a:lnTo>
                      <a:pt x="12" y="215"/>
                    </a:lnTo>
                    <a:lnTo>
                      <a:pt x="18" y="213"/>
                    </a:lnTo>
                    <a:lnTo>
                      <a:pt x="25" y="211"/>
                    </a:lnTo>
                    <a:lnTo>
                      <a:pt x="36" y="207"/>
                    </a:lnTo>
                    <a:lnTo>
                      <a:pt x="41" y="205"/>
                    </a:lnTo>
                    <a:lnTo>
                      <a:pt x="45" y="208"/>
                    </a:lnTo>
                    <a:lnTo>
                      <a:pt x="48" y="210"/>
                    </a:lnTo>
                    <a:lnTo>
                      <a:pt x="51" y="212"/>
                    </a:lnTo>
                    <a:lnTo>
                      <a:pt x="53" y="213"/>
                    </a:lnTo>
                    <a:lnTo>
                      <a:pt x="56" y="214"/>
                    </a:lnTo>
                    <a:lnTo>
                      <a:pt x="59" y="215"/>
                    </a:lnTo>
                    <a:lnTo>
                      <a:pt x="62" y="215"/>
                    </a:lnTo>
                    <a:lnTo>
                      <a:pt x="66" y="215"/>
                    </a:lnTo>
                    <a:lnTo>
                      <a:pt x="66" y="219"/>
                    </a:lnTo>
                    <a:lnTo>
                      <a:pt x="66" y="222"/>
                    </a:lnTo>
                    <a:lnTo>
                      <a:pt x="67" y="225"/>
                    </a:lnTo>
                    <a:lnTo>
                      <a:pt x="69" y="228"/>
                    </a:lnTo>
                    <a:lnTo>
                      <a:pt x="70" y="231"/>
                    </a:lnTo>
                    <a:lnTo>
                      <a:pt x="72" y="233"/>
                    </a:lnTo>
                    <a:lnTo>
                      <a:pt x="74" y="235"/>
                    </a:lnTo>
                    <a:lnTo>
                      <a:pt x="76" y="237"/>
                    </a:lnTo>
                    <a:lnTo>
                      <a:pt x="85" y="243"/>
                    </a:lnTo>
                    <a:lnTo>
                      <a:pt x="91" y="248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15" name="Freeform 236"/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2724812" y="2458514"/>
                <a:ext cx="871714" cy="833045"/>
              </a:xfrm>
              <a:custGeom>
                <a:avLst/>
                <a:gdLst/>
                <a:ahLst/>
                <a:cxnLst>
                  <a:cxn ang="0">
                    <a:pos x="90" y="788"/>
                  </a:cxn>
                  <a:cxn ang="0">
                    <a:pos x="121" y="788"/>
                  </a:cxn>
                  <a:cxn ang="0">
                    <a:pos x="146" y="783"/>
                  </a:cxn>
                  <a:cxn ang="0">
                    <a:pos x="186" y="776"/>
                  </a:cxn>
                  <a:cxn ang="0">
                    <a:pos x="197" y="813"/>
                  </a:cxn>
                  <a:cxn ang="0">
                    <a:pos x="212" y="835"/>
                  </a:cxn>
                  <a:cxn ang="0">
                    <a:pos x="226" y="846"/>
                  </a:cxn>
                  <a:cxn ang="0">
                    <a:pos x="246" y="850"/>
                  </a:cxn>
                  <a:cxn ang="0">
                    <a:pos x="246" y="881"/>
                  </a:cxn>
                  <a:cxn ang="0">
                    <a:pos x="326" y="889"/>
                  </a:cxn>
                  <a:cxn ang="0">
                    <a:pos x="334" y="876"/>
                  </a:cxn>
                  <a:cxn ang="0">
                    <a:pos x="347" y="871"/>
                  </a:cxn>
                  <a:cxn ang="0">
                    <a:pos x="348" y="888"/>
                  </a:cxn>
                  <a:cxn ang="0">
                    <a:pos x="358" y="893"/>
                  </a:cxn>
                  <a:cxn ang="0">
                    <a:pos x="385" y="893"/>
                  </a:cxn>
                  <a:cxn ang="0">
                    <a:pos x="401" y="854"/>
                  </a:cxn>
                  <a:cxn ang="0">
                    <a:pos x="412" y="788"/>
                  </a:cxn>
                  <a:cxn ang="0">
                    <a:pos x="424" y="771"/>
                  </a:cxn>
                  <a:cxn ang="0">
                    <a:pos x="452" y="754"/>
                  </a:cxn>
                  <a:cxn ang="0">
                    <a:pos x="485" y="743"/>
                  </a:cxn>
                  <a:cxn ang="0">
                    <a:pos x="501" y="729"/>
                  </a:cxn>
                  <a:cxn ang="0">
                    <a:pos x="515" y="702"/>
                  </a:cxn>
                  <a:cxn ang="0">
                    <a:pos x="535" y="668"/>
                  </a:cxn>
                  <a:cxn ang="0">
                    <a:pos x="547" y="660"/>
                  </a:cxn>
                  <a:cxn ang="0">
                    <a:pos x="572" y="659"/>
                  </a:cxn>
                  <a:cxn ang="0">
                    <a:pos x="605" y="644"/>
                  </a:cxn>
                  <a:cxn ang="0">
                    <a:pos x="639" y="624"/>
                  </a:cxn>
                  <a:cxn ang="0">
                    <a:pos x="674" y="613"/>
                  </a:cxn>
                  <a:cxn ang="0">
                    <a:pos x="724" y="610"/>
                  </a:cxn>
                  <a:cxn ang="0">
                    <a:pos x="788" y="602"/>
                  </a:cxn>
                  <a:cxn ang="0">
                    <a:pos x="815" y="594"/>
                  </a:cxn>
                  <a:cxn ang="0">
                    <a:pos x="863" y="590"/>
                  </a:cxn>
                  <a:cxn ang="0">
                    <a:pos x="901" y="583"/>
                  </a:cxn>
                  <a:cxn ang="0">
                    <a:pos x="913" y="574"/>
                  </a:cxn>
                  <a:cxn ang="0">
                    <a:pos x="931" y="544"/>
                  </a:cxn>
                  <a:cxn ang="0">
                    <a:pos x="943" y="504"/>
                  </a:cxn>
                  <a:cxn ang="0">
                    <a:pos x="948" y="461"/>
                  </a:cxn>
                  <a:cxn ang="0">
                    <a:pos x="947" y="421"/>
                  </a:cxn>
                  <a:cxn ang="0">
                    <a:pos x="943" y="363"/>
                  </a:cxn>
                  <a:cxn ang="0">
                    <a:pos x="922" y="356"/>
                  </a:cxn>
                  <a:cxn ang="0">
                    <a:pos x="862" y="322"/>
                  </a:cxn>
                  <a:cxn ang="0">
                    <a:pos x="794" y="278"/>
                  </a:cxn>
                  <a:cxn ang="0">
                    <a:pos x="738" y="216"/>
                  </a:cxn>
                  <a:cxn ang="0">
                    <a:pos x="412" y="12"/>
                  </a:cxn>
                  <a:cxn ang="0">
                    <a:pos x="348" y="102"/>
                  </a:cxn>
                  <a:cxn ang="0">
                    <a:pos x="379" y="405"/>
                  </a:cxn>
                  <a:cxn ang="0">
                    <a:pos x="392" y="565"/>
                  </a:cxn>
                  <a:cxn ang="0">
                    <a:pos x="93" y="591"/>
                  </a:cxn>
                  <a:cxn ang="0">
                    <a:pos x="79" y="606"/>
                  </a:cxn>
                  <a:cxn ang="0">
                    <a:pos x="67" y="610"/>
                  </a:cxn>
                  <a:cxn ang="0">
                    <a:pos x="57" y="607"/>
                  </a:cxn>
                  <a:cxn ang="0">
                    <a:pos x="49" y="591"/>
                  </a:cxn>
                  <a:cxn ang="0">
                    <a:pos x="40" y="581"/>
                  </a:cxn>
                  <a:cxn ang="0">
                    <a:pos x="29" y="605"/>
                  </a:cxn>
                  <a:cxn ang="0">
                    <a:pos x="15" y="623"/>
                  </a:cxn>
                  <a:cxn ang="0">
                    <a:pos x="67" y="733"/>
                  </a:cxn>
                  <a:cxn ang="0">
                    <a:pos x="61" y="748"/>
                  </a:cxn>
                  <a:cxn ang="0">
                    <a:pos x="62" y="760"/>
                  </a:cxn>
                  <a:cxn ang="0">
                    <a:pos x="54" y="788"/>
                  </a:cxn>
                </a:cxnLst>
                <a:rect l="0" t="0" r="r" b="b"/>
                <a:pathLst>
                  <a:path w="948" h="893">
                    <a:moveTo>
                      <a:pt x="54" y="788"/>
                    </a:moveTo>
                    <a:lnTo>
                      <a:pt x="74" y="788"/>
                    </a:lnTo>
                    <a:lnTo>
                      <a:pt x="90" y="788"/>
                    </a:lnTo>
                    <a:lnTo>
                      <a:pt x="100" y="788"/>
                    </a:lnTo>
                    <a:lnTo>
                      <a:pt x="106" y="788"/>
                    </a:lnTo>
                    <a:lnTo>
                      <a:pt x="121" y="788"/>
                    </a:lnTo>
                    <a:lnTo>
                      <a:pt x="135" y="787"/>
                    </a:lnTo>
                    <a:lnTo>
                      <a:pt x="140" y="785"/>
                    </a:lnTo>
                    <a:lnTo>
                      <a:pt x="146" y="783"/>
                    </a:lnTo>
                    <a:lnTo>
                      <a:pt x="150" y="780"/>
                    </a:lnTo>
                    <a:lnTo>
                      <a:pt x="152" y="776"/>
                    </a:lnTo>
                    <a:lnTo>
                      <a:pt x="186" y="776"/>
                    </a:lnTo>
                    <a:lnTo>
                      <a:pt x="189" y="788"/>
                    </a:lnTo>
                    <a:lnTo>
                      <a:pt x="193" y="800"/>
                    </a:lnTo>
                    <a:lnTo>
                      <a:pt x="197" y="813"/>
                    </a:lnTo>
                    <a:lnTo>
                      <a:pt x="204" y="825"/>
                    </a:lnTo>
                    <a:lnTo>
                      <a:pt x="207" y="830"/>
                    </a:lnTo>
                    <a:lnTo>
                      <a:pt x="212" y="835"/>
                    </a:lnTo>
                    <a:lnTo>
                      <a:pt x="216" y="839"/>
                    </a:lnTo>
                    <a:lnTo>
                      <a:pt x="221" y="843"/>
                    </a:lnTo>
                    <a:lnTo>
                      <a:pt x="226" y="846"/>
                    </a:lnTo>
                    <a:lnTo>
                      <a:pt x="233" y="848"/>
                    </a:lnTo>
                    <a:lnTo>
                      <a:pt x="239" y="849"/>
                    </a:lnTo>
                    <a:lnTo>
                      <a:pt x="246" y="850"/>
                    </a:lnTo>
                    <a:lnTo>
                      <a:pt x="246" y="862"/>
                    </a:lnTo>
                    <a:lnTo>
                      <a:pt x="246" y="871"/>
                    </a:lnTo>
                    <a:lnTo>
                      <a:pt x="246" y="881"/>
                    </a:lnTo>
                    <a:lnTo>
                      <a:pt x="246" y="893"/>
                    </a:lnTo>
                    <a:lnTo>
                      <a:pt x="326" y="893"/>
                    </a:lnTo>
                    <a:lnTo>
                      <a:pt x="326" y="889"/>
                    </a:lnTo>
                    <a:lnTo>
                      <a:pt x="328" y="884"/>
                    </a:lnTo>
                    <a:lnTo>
                      <a:pt x="330" y="880"/>
                    </a:lnTo>
                    <a:lnTo>
                      <a:pt x="334" y="876"/>
                    </a:lnTo>
                    <a:lnTo>
                      <a:pt x="339" y="868"/>
                    </a:lnTo>
                    <a:lnTo>
                      <a:pt x="346" y="862"/>
                    </a:lnTo>
                    <a:lnTo>
                      <a:pt x="347" y="871"/>
                    </a:lnTo>
                    <a:lnTo>
                      <a:pt x="348" y="880"/>
                    </a:lnTo>
                    <a:lnTo>
                      <a:pt x="349" y="884"/>
                    </a:lnTo>
                    <a:lnTo>
                      <a:pt x="348" y="888"/>
                    </a:lnTo>
                    <a:lnTo>
                      <a:pt x="348" y="891"/>
                    </a:lnTo>
                    <a:lnTo>
                      <a:pt x="346" y="893"/>
                    </a:lnTo>
                    <a:lnTo>
                      <a:pt x="358" y="893"/>
                    </a:lnTo>
                    <a:lnTo>
                      <a:pt x="371" y="893"/>
                    </a:lnTo>
                    <a:lnTo>
                      <a:pt x="381" y="893"/>
                    </a:lnTo>
                    <a:lnTo>
                      <a:pt x="385" y="893"/>
                    </a:lnTo>
                    <a:lnTo>
                      <a:pt x="392" y="881"/>
                    </a:lnTo>
                    <a:lnTo>
                      <a:pt x="397" y="868"/>
                    </a:lnTo>
                    <a:lnTo>
                      <a:pt x="401" y="854"/>
                    </a:lnTo>
                    <a:lnTo>
                      <a:pt x="404" y="841"/>
                    </a:lnTo>
                    <a:lnTo>
                      <a:pt x="408" y="813"/>
                    </a:lnTo>
                    <a:lnTo>
                      <a:pt x="412" y="788"/>
                    </a:lnTo>
                    <a:lnTo>
                      <a:pt x="415" y="782"/>
                    </a:lnTo>
                    <a:lnTo>
                      <a:pt x="418" y="776"/>
                    </a:lnTo>
                    <a:lnTo>
                      <a:pt x="424" y="771"/>
                    </a:lnTo>
                    <a:lnTo>
                      <a:pt x="428" y="767"/>
                    </a:lnTo>
                    <a:lnTo>
                      <a:pt x="440" y="759"/>
                    </a:lnTo>
                    <a:lnTo>
                      <a:pt x="452" y="754"/>
                    </a:lnTo>
                    <a:lnTo>
                      <a:pt x="464" y="750"/>
                    </a:lnTo>
                    <a:lnTo>
                      <a:pt x="475" y="746"/>
                    </a:lnTo>
                    <a:lnTo>
                      <a:pt x="485" y="743"/>
                    </a:lnTo>
                    <a:lnTo>
                      <a:pt x="492" y="739"/>
                    </a:lnTo>
                    <a:lnTo>
                      <a:pt x="496" y="734"/>
                    </a:lnTo>
                    <a:lnTo>
                      <a:pt x="501" y="729"/>
                    </a:lnTo>
                    <a:lnTo>
                      <a:pt x="505" y="723"/>
                    </a:lnTo>
                    <a:lnTo>
                      <a:pt x="508" y="716"/>
                    </a:lnTo>
                    <a:lnTo>
                      <a:pt x="515" y="702"/>
                    </a:lnTo>
                    <a:lnTo>
                      <a:pt x="521" y="690"/>
                    </a:lnTo>
                    <a:lnTo>
                      <a:pt x="528" y="678"/>
                    </a:lnTo>
                    <a:lnTo>
                      <a:pt x="535" y="668"/>
                    </a:lnTo>
                    <a:lnTo>
                      <a:pt x="539" y="664"/>
                    </a:lnTo>
                    <a:lnTo>
                      <a:pt x="542" y="662"/>
                    </a:lnTo>
                    <a:lnTo>
                      <a:pt x="547" y="660"/>
                    </a:lnTo>
                    <a:lnTo>
                      <a:pt x="551" y="659"/>
                    </a:lnTo>
                    <a:lnTo>
                      <a:pt x="562" y="660"/>
                    </a:lnTo>
                    <a:lnTo>
                      <a:pt x="572" y="659"/>
                    </a:lnTo>
                    <a:lnTo>
                      <a:pt x="581" y="657"/>
                    </a:lnTo>
                    <a:lnTo>
                      <a:pt x="588" y="653"/>
                    </a:lnTo>
                    <a:lnTo>
                      <a:pt x="605" y="644"/>
                    </a:lnTo>
                    <a:lnTo>
                      <a:pt x="620" y="634"/>
                    </a:lnTo>
                    <a:lnTo>
                      <a:pt x="629" y="629"/>
                    </a:lnTo>
                    <a:lnTo>
                      <a:pt x="639" y="624"/>
                    </a:lnTo>
                    <a:lnTo>
                      <a:pt x="649" y="620"/>
                    </a:lnTo>
                    <a:lnTo>
                      <a:pt x="661" y="616"/>
                    </a:lnTo>
                    <a:lnTo>
                      <a:pt x="674" y="613"/>
                    </a:lnTo>
                    <a:lnTo>
                      <a:pt x="688" y="610"/>
                    </a:lnTo>
                    <a:lnTo>
                      <a:pt x="706" y="609"/>
                    </a:lnTo>
                    <a:lnTo>
                      <a:pt x="724" y="610"/>
                    </a:lnTo>
                    <a:lnTo>
                      <a:pt x="777" y="610"/>
                    </a:lnTo>
                    <a:lnTo>
                      <a:pt x="783" y="606"/>
                    </a:lnTo>
                    <a:lnTo>
                      <a:pt x="788" y="602"/>
                    </a:lnTo>
                    <a:lnTo>
                      <a:pt x="795" y="600"/>
                    </a:lnTo>
                    <a:lnTo>
                      <a:pt x="800" y="598"/>
                    </a:lnTo>
                    <a:lnTo>
                      <a:pt x="815" y="594"/>
                    </a:lnTo>
                    <a:lnTo>
                      <a:pt x="830" y="592"/>
                    </a:lnTo>
                    <a:lnTo>
                      <a:pt x="845" y="591"/>
                    </a:lnTo>
                    <a:lnTo>
                      <a:pt x="863" y="590"/>
                    </a:lnTo>
                    <a:lnTo>
                      <a:pt x="879" y="588"/>
                    </a:lnTo>
                    <a:lnTo>
                      <a:pt x="897" y="585"/>
                    </a:lnTo>
                    <a:lnTo>
                      <a:pt x="901" y="583"/>
                    </a:lnTo>
                    <a:lnTo>
                      <a:pt x="906" y="580"/>
                    </a:lnTo>
                    <a:lnTo>
                      <a:pt x="909" y="577"/>
                    </a:lnTo>
                    <a:lnTo>
                      <a:pt x="913" y="574"/>
                    </a:lnTo>
                    <a:lnTo>
                      <a:pt x="920" y="565"/>
                    </a:lnTo>
                    <a:lnTo>
                      <a:pt x="925" y="555"/>
                    </a:lnTo>
                    <a:lnTo>
                      <a:pt x="931" y="544"/>
                    </a:lnTo>
                    <a:lnTo>
                      <a:pt x="935" y="531"/>
                    </a:lnTo>
                    <a:lnTo>
                      <a:pt x="940" y="518"/>
                    </a:lnTo>
                    <a:lnTo>
                      <a:pt x="943" y="504"/>
                    </a:lnTo>
                    <a:lnTo>
                      <a:pt x="945" y="490"/>
                    </a:lnTo>
                    <a:lnTo>
                      <a:pt x="947" y="475"/>
                    </a:lnTo>
                    <a:lnTo>
                      <a:pt x="948" y="461"/>
                    </a:lnTo>
                    <a:lnTo>
                      <a:pt x="948" y="447"/>
                    </a:lnTo>
                    <a:lnTo>
                      <a:pt x="948" y="434"/>
                    </a:lnTo>
                    <a:lnTo>
                      <a:pt x="947" y="421"/>
                    </a:lnTo>
                    <a:lnTo>
                      <a:pt x="945" y="410"/>
                    </a:lnTo>
                    <a:lnTo>
                      <a:pt x="943" y="400"/>
                    </a:lnTo>
                    <a:lnTo>
                      <a:pt x="943" y="363"/>
                    </a:lnTo>
                    <a:lnTo>
                      <a:pt x="939" y="362"/>
                    </a:lnTo>
                    <a:lnTo>
                      <a:pt x="931" y="359"/>
                    </a:lnTo>
                    <a:lnTo>
                      <a:pt x="922" y="356"/>
                    </a:lnTo>
                    <a:lnTo>
                      <a:pt x="912" y="350"/>
                    </a:lnTo>
                    <a:lnTo>
                      <a:pt x="888" y="337"/>
                    </a:lnTo>
                    <a:lnTo>
                      <a:pt x="862" y="322"/>
                    </a:lnTo>
                    <a:lnTo>
                      <a:pt x="835" y="305"/>
                    </a:lnTo>
                    <a:lnTo>
                      <a:pt x="811" y="290"/>
                    </a:lnTo>
                    <a:lnTo>
                      <a:pt x="794" y="278"/>
                    </a:lnTo>
                    <a:lnTo>
                      <a:pt x="784" y="271"/>
                    </a:lnTo>
                    <a:lnTo>
                      <a:pt x="764" y="240"/>
                    </a:lnTo>
                    <a:lnTo>
                      <a:pt x="738" y="216"/>
                    </a:lnTo>
                    <a:lnTo>
                      <a:pt x="405" y="0"/>
                    </a:lnTo>
                    <a:lnTo>
                      <a:pt x="408" y="6"/>
                    </a:lnTo>
                    <a:lnTo>
                      <a:pt x="412" y="12"/>
                    </a:lnTo>
                    <a:lnTo>
                      <a:pt x="339" y="12"/>
                    </a:lnTo>
                    <a:lnTo>
                      <a:pt x="341" y="36"/>
                    </a:lnTo>
                    <a:lnTo>
                      <a:pt x="348" y="102"/>
                    </a:lnTo>
                    <a:lnTo>
                      <a:pt x="358" y="193"/>
                    </a:lnTo>
                    <a:lnTo>
                      <a:pt x="368" y="299"/>
                    </a:lnTo>
                    <a:lnTo>
                      <a:pt x="379" y="405"/>
                    </a:lnTo>
                    <a:lnTo>
                      <a:pt x="386" y="498"/>
                    </a:lnTo>
                    <a:lnTo>
                      <a:pt x="390" y="535"/>
                    </a:lnTo>
                    <a:lnTo>
                      <a:pt x="392" y="565"/>
                    </a:lnTo>
                    <a:lnTo>
                      <a:pt x="393" y="583"/>
                    </a:lnTo>
                    <a:lnTo>
                      <a:pt x="392" y="591"/>
                    </a:lnTo>
                    <a:lnTo>
                      <a:pt x="93" y="591"/>
                    </a:lnTo>
                    <a:lnTo>
                      <a:pt x="88" y="597"/>
                    </a:lnTo>
                    <a:lnTo>
                      <a:pt x="82" y="603"/>
                    </a:lnTo>
                    <a:lnTo>
                      <a:pt x="79" y="606"/>
                    </a:lnTo>
                    <a:lnTo>
                      <a:pt x="76" y="608"/>
                    </a:lnTo>
                    <a:lnTo>
                      <a:pt x="71" y="609"/>
                    </a:lnTo>
                    <a:lnTo>
                      <a:pt x="67" y="610"/>
                    </a:lnTo>
                    <a:lnTo>
                      <a:pt x="64" y="609"/>
                    </a:lnTo>
                    <a:lnTo>
                      <a:pt x="60" y="608"/>
                    </a:lnTo>
                    <a:lnTo>
                      <a:pt x="57" y="607"/>
                    </a:lnTo>
                    <a:lnTo>
                      <a:pt x="55" y="604"/>
                    </a:lnTo>
                    <a:lnTo>
                      <a:pt x="51" y="598"/>
                    </a:lnTo>
                    <a:lnTo>
                      <a:pt x="49" y="591"/>
                    </a:lnTo>
                    <a:lnTo>
                      <a:pt x="47" y="578"/>
                    </a:lnTo>
                    <a:lnTo>
                      <a:pt x="47" y="573"/>
                    </a:lnTo>
                    <a:lnTo>
                      <a:pt x="40" y="581"/>
                    </a:lnTo>
                    <a:lnTo>
                      <a:pt x="36" y="590"/>
                    </a:lnTo>
                    <a:lnTo>
                      <a:pt x="33" y="598"/>
                    </a:lnTo>
                    <a:lnTo>
                      <a:pt x="29" y="605"/>
                    </a:lnTo>
                    <a:lnTo>
                      <a:pt x="26" y="612"/>
                    </a:lnTo>
                    <a:lnTo>
                      <a:pt x="22" y="618"/>
                    </a:lnTo>
                    <a:lnTo>
                      <a:pt x="15" y="623"/>
                    </a:lnTo>
                    <a:lnTo>
                      <a:pt x="6" y="628"/>
                    </a:lnTo>
                    <a:lnTo>
                      <a:pt x="0" y="709"/>
                    </a:lnTo>
                    <a:lnTo>
                      <a:pt x="67" y="733"/>
                    </a:lnTo>
                    <a:lnTo>
                      <a:pt x="65" y="738"/>
                    </a:lnTo>
                    <a:lnTo>
                      <a:pt x="62" y="743"/>
                    </a:lnTo>
                    <a:lnTo>
                      <a:pt x="61" y="748"/>
                    </a:lnTo>
                    <a:lnTo>
                      <a:pt x="61" y="753"/>
                    </a:lnTo>
                    <a:lnTo>
                      <a:pt x="61" y="757"/>
                    </a:lnTo>
                    <a:lnTo>
                      <a:pt x="62" y="760"/>
                    </a:lnTo>
                    <a:lnTo>
                      <a:pt x="65" y="763"/>
                    </a:lnTo>
                    <a:lnTo>
                      <a:pt x="67" y="764"/>
                    </a:lnTo>
                    <a:lnTo>
                      <a:pt x="54" y="788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16" name="Freeform 237"/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2931880" y="1758190"/>
                <a:ext cx="1038708" cy="1030717"/>
              </a:xfrm>
              <a:custGeom>
                <a:avLst/>
                <a:gdLst/>
                <a:ahLst/>
                <a:cxnLst>
                  <a:cxn ang="0">
                    <a:pos x="238" y="367"/>
                  </a:cxn>
                  <a:cxn ang="0">
                    <a:pos x="244" y="365"/>
                  </a:cxn>
                  <a:cxn ang="0">
                    <a:pos x="255" y="368"/>
                  </a:cxn>
                  <a:cxn ang="0">
                    <a:pos x="372" y="277"/>
                  </a:cxn>
                  <a:cxn ang="0">
                    <a:pos x="369" y="270"/>
                  </a:cxn>
                  <a:cxn ang="0">
                    <a:pos x="361" y="264"/>
                  </a:cxn>
                  <a:cxn ang="0">
                    <a:pos x="347" y="259"/>
                  </a:cxn>
                  <a:cxn ang="0">
                    <a:pos x="339" y="254"/>
                  </a:cxn>
                  <a:cxn ang="0">
                    <a:pos x="336" y="247"/>
                  </a:cxn>
                  <a:cxn ang="0">
                    <a:pos x="337" y="228"/>
                  </a:cxn>
                  <a:cxn ang="0">
                    <a:pos x="337" y="196"/>
                  </a:cxn>
                  <a:cxn ang="0">
                    <a:pos x="334" y="168"/>
                  </a:cxn>
                  <a:cxn ang="0">
                    <a:pos x="329" y="155"/>
                  </a:cxn>
                  <a:cxn ang="0">
                    <a:pos x="323" y="142"/>
                  </a:cxn>
                  <a:cxn ang="0">
                    <a:pos x="315" y="109"/>
                  </a:cxn>
                  <a:cxn ang="0">
                    <a:pos x="306" y="90"/>
                  </a:cxn>
                  <a:cxn ang="0">
                    <a:pos x="297" y="78"/>
                  </a:cxn>
                  <a:cxn ang="0">
                    <a:pos x="300" y="63"/>
                  </a:cxn>
                  <a:cxn ang="0">
                    <a:pos x="301" y="43"/>
                  </a:cxn>
                  <a:cxn ang="0">
                    <a:pos x="302" y="23"/>
                  </a:cxn>
                  <a:cxn ang="0">
                    <a:pos x="310" y="7"/>
                  </a:cxn>
                  <a:cxn ang="0">
                    <a:pos x="302" y="6"/>
                  </a:cxn>
                  <a:cxn ang="0">
                    <a:pos x="278" y="12"/>
                  </a:cxn>
                  <a:cxn ang="0">
                    <a:pos x="245" y="12"/>
                  </a:cxn>
                  <a:cxn ang="0">
                    <a:pos x="206" y="14"/>
                  </a:cxn>
                  <a:cxn ang="0">
                    <a:pos x="168" y="24"/>
                  </a:cxn>
                  <a:cxn ang="0">
                    <a:pos x="145" y="32"/>
                  </a:cxn>
                  <a:cxn ang="0">
                    <a:pos x="124" y="44"/>
                  </a:cxn>
                  <a:cxn ang="0">
                    <a:pos x="123" y="52"/>
                  </a:cxn>
                  <a:cxn ang="0">
                    <a:pos x="131" y="89"/>
                  </a:cxn>
                  <a:cxn ang="0">
                    <a:pos x="134" y="93"/>
                  </a:cxn>
                  <a:cxn ang="0">
                    <a:pos x="141" y="98"/>
                  </a:cxn>
                  <a:cxn ang="0">
                    <a:pos x="142" y="102"/>
                  </a:cxn>
                  <a:cxn ang="0">
                    <a:pos x="139" y="107"/>
                  </a:cxn>
                  <a:cxn ang="0">
                    <a:pos x="128" y="107"/>
                  </a:cxn>
                  <a:cxn ang="0">
                    <a:pos x="106" y="113"/>
                  </a:cxn>
                  <a:cxn ang="0">
                    <a:pos x="95" y="122"/>
                  </a:cxn>
                  <a:cxn ang="0">
                    <a:pos x="90" y="131"/>
                  </a:cxn>
                  <a:cxn ang="0">
                    <a:pos x="82" y="137"/>
                  </a:cxn>
                  <a:cxn ang="0">
                    <a:pos x="66" y="150"/>
                  </a:cxn>
                  <a:cxn ang="0">
                    <a:pos x="51" y="158"/>
                  </a:cxn>
                  <a:cxn ang="0">
                    <a:pos x="31" y="160"/>
                  </a:cxn>
                  <a:cxn ang="0">
                    <a:pos x="20" y="164"/>
                  </a:cxn>
                  <a:cxn ang="0">
                    <a:pos x="8" y="174"/>
                  </a:cxn>
                  <a:cxn ang="0">
                    <a:pos x="0" y="200"/>
                  </a:cxn>
                  <a:cxn ang="0">
                    <a:pos x="179" y="331"/>
                  </a:cxn>
                  <a:cxn ang="0">
                    <a:pos x="201" y="352"/>
                  </a:cxn>
                  <a:cxn ang="0">
                    <a:pos x="229" y="368"/>
                  </a:cxn>
                </a:cxnLst>
                <a:rect l="0" t="0" r="r" b="b"/>
                <a:pathLst>
                  <a:path w="373" h="370">
                    <a:moveTo>
                      <a:pt x="235" y="370"/>
                    </a:moveTo>
                    <a:lnTo>
                      <a:pt x="237" y="369"/>
                    </a:lnTo>
                    <a:lnTo>
                      <a:pt x="238" y="367"/>
                    </a:lnTo>
                    <a:lnTo>
                      <a:pt x="238" y="367"/>
                    </a:lnTo>
                    <a:lnTo>
                      <a:pt x="240" y="366"/>
                    </a:lnTo>
                    <a:lnTo>
                      <a:pt x="241" y="366"/>
                    </a:lnTo>
                    <a:lnTo>
                      <a:pt x="242" y="365"/>
                    </a:lnTo>
                    <a:lnTo>
                      <a:pt x="244" y="365"/>
                    </a:lnTo>
                    <a:lnTo>
                      <a:pt x="245" y="365"/>
                    </a:lnTo>
                    <a:lnTo>
                      <a:pt x="249" y="366"/>
                    </a:lnTo>
                    <a:lnTo>
                      <a:pt x="252" y="367"/>
                    </a:lnTo>
                    <a:lnTo>
                      <a:pt x="255" y="368"/>
                    </a:lnTo>
                    <a:lnTo>
                      <a:pt x="257" y="370"/>
                    </a:lnTo>
                    <a:lnTo>
                      <a:pt x="373" y="282"/>
                    </a:lnTo>
                    <a:lnTo>
                      <a:pt x="373" y="279"/>
                    </a:lnTo>
                    <a:lnTo>
                      <a:pt x="372" y="277"/>
                    </a:lnTo>
                    <a:lnTo>
                      <a:pt x="372" y="275"/>
                    </a:lnTo>
                    <a:lnTo>
                      <a:pt x="371" y="273"/>
                    </a:lnTo>
                    <a:lnTo>
                      <a:pt x="370" y="271"/>
                    </a:lnTo>
                    <a:lnTo>
                      <a:pt x="369" y="270"/>
                    </a:lnTo>
                    <a:lnTo>
                      <a:pt x="368" y="268"/>
                    </a:lnTo>
                    <a:lnTo>
                      <a:pt x="367" y="267"/>
                    </a:lnTo>
                    <a:lnTo>
                      <a:pt x="364" y="265"/>
                    </a:lnTo>
                    <a:lnTo>
                      <a:pt x="361" y="264"/>
                    </a:lnTo>
                    <a:lnTo>
                      <a:pt x="358" y="262"/>
                    </a:lnTo>
                    <a:lnTo>
                      <a:pt x="354" y="261"/>
                    </a:lnTo>
                    <a:lnTo>
                      <a:pt x="351" y="260"/>
                    </a:lnTo>
                    <a:lnTo>
                      <a:pt x="347" y="259"/>
                    </a:lnTo>
                    <a:lnTo>
                      <a:pt x="344" y="258"/>
                    </a:lnTo>
                    <a:lnTo>
                      <a:pt x="342" y="256"/>
                    </a:lnTo>
                    <a:lnTo>
                      <a:pt x="340" y="255"/>
                    </a:lnTo>
                    <a:lnTo>
                      <a:pt x="339" y="254"/>
                    </a:lnTo>
                    <a:lnTo>
                      <a:pt x="338" y="252"/>
                    </a:lnTo>
                    <a:lnTo>
                      <a:pt x="337" y="251"/>
                    </a:lnTo>
                    <a:lnTo>
                      <a:pt x="337" y="249"/>
                    </a:lnTo>
                    <a:lnTo>
                      <a:pt x="336" y="247"/>
                    </a:lnTo>
                    <a:lnTo>
                      <a:pt x="336" y="245"/>
                    </a:lnTo>
                    <a:lnTo>
                      <a:pt x="336" y="243"/>
                    </a:lnTo>
                    <a:lnTo>
                      <a:pt x="336" y="235"/>
                    </a:lnTo>
                    <a:lnTo>
                      <a:pt x="337" y="228"/>
                    </a:lnTo>
                    <a:lnTo>
                      <a:pt x="338" y="220"/>
                    </a:lnTo>
                    <a:lnTo>
                      <a:pt x="338" y="214"/>
                    </a:lnTo>
                    <a:lnTo>
                      <a:pt x="338" y="205"/>
                    </a:lnTo>
                    <a:lnTo>
                      <a:pt x="337" y="196"/>
                    </a:lnTo>
                    <a:lnTo>
                      <a:pt x="337" y="186"/>
                    </a:lnTo>
                    <a:lnTo>
                      <a:pt x="336" y="177"/>
                    </a:lnTo>
                    <a:lnTo>
                      <a:pt x="335" y="172"/>
                    </a:lnTo>
                    <a:lnTo>
                      <a:pt x="334" y="168"/>
                    </a:lnTo>
                    <a:lnTo>
                      <a:pt x="333" y="164"/>
                    </a:lnTo>
                    <a:lnTo>
                      <a:pt x="332" y="160"/>
                    </a:lnTo>
                    <a:lnTo>
                      <a:pt x="330" y="157"/>
                    </a:lnTo>
                    <a:lnTo>
                      <a:pt x="329" y="155"/>
                    </a:lnTo>
                    <a:lnTo>
                      <a:pt x="327" y="153"/>
                    </a:lnTo>
                    <a:lnTo>
                      <a:pt x="325" y="152"/>
                    </a:lnTo>
                    <a:lnTo>
                      <a:pt x="324" y="147"/>
                    </a:lnTo>
                    <a:lnTo>
                      <a:pt x="323" y="142"/>
                    </a:lnTo>
                    <a:lnTo>
                      <a:pt x="322" y="136"/>
                    </a:lnTo>
                    <a:lnTo>
                      <a:pt x="321" y="130"/>
                    </a:lnTo>
                    <a:lnTo>
                      <a:pt x="319" y="120"/>
                    </a:lnTo>
                    <a:lnTo>
                      <a:pt x="315" y="109"/>
                    </a:lnTo>
                    <a:lnTo>
                      <a:pt x="313" y="104"/>
                    </a:lnTo>
                    <a:lnTo>
                      <a:pt x="311" y="99"/>
                    </a:lnTo>
                    <a:lnTo>
                      <a:pt x="308" y="94"/>
                    </a:lnTo>
                    <a:lnTo>
                      <a:pt x="306" y="90"/>
                    </a:lnTo>
                    <a:lnTo>
                      <a:pt x="304" y="86"/>
                    </a:lnTo>
                    <a:lnTo>
                      <a:pt x="301" y="83"/>
                    </a:lnTo>
                    <a:lnTo>
                      <a:pt x="299" y="80"/>
                    </a:lnTo>
                    <a:lnTo>
                      <a:pt x="297" y="78"/>
                    </a:lnTo>
                    <a:lnTo>
                      <a:pt x="298" y="74"/>
                    </a:lnTo>
                    <a:lnTo>
                      <a:pt x="299" y="69"/>
                    </a:lnTo>
                    <a:lnTo>
                      <a:pt x="300" y="66"/>
                    </a:lnTo>
                    <a:lnTo>
                      <a:pt x="300" y="63"/>
                    </a:lnTo>
                    <a:lnTo>
                      <a:pt x="301" y="60"/>
                    </a:lnTo>
                    <a:lnTo>
                      <a:pt x="303" y="57"/>
                    </a:lnTo>
                    <a:lnTo>
                      <a:pt x="302" y="50"/>
                    </a:lnTo>
                    <a:lnTo>
                      <a:pt x="301" y="43"/>
                    </a:lnTo>
                    <a:lnTo>
                      <a:pt x="301" y="37"/>
                    </a:lnTo>
                    <a:lnTo>
                      <a:pt x="301" y="32"/>
                    </a:lnTo>
                    <a:lnTo>
                      <a:pt x="301" y="27"/>
                    </a:lnTo>
                    <a:lnTo>
                      <a:pt x="302" y="23"/>
                    </a:lnTo>
                    <a:lnTo>
                      <a:pt x="303" y="19"/>
                    </a:lnTo>
                    <a:lnTo>
                      <a:pt x="304" y="16"/>
                    </a:lnTo>
                    <a:lnTo>
                      <a:pt x="307" y="11"/>
                    </a:lnTo>
                    <a:lnTo>
                      <a:pt x="310" y="7"/>
                    </a:lnTo>
                    <a:lnTo>
                      <a:pt x="312" y="3"/>
                    </a:lnTo>
                    <a:lnTo>
                      <a:pt x="314" y="0"/>
                    </a:lnTo>
                    <a:lnTo>
                      <a:pt x="308" y="3"/>
                    </a:lnTo>
                    <a:lnTo>
                      <a:pt x="302" y="6"/>
                    </a:lnTo>
                    <a:lnTo>
                      <a:pt x="297" y="8"/>
                    </a:lnTo>
                    <a:lnTo>
                      <a:pt x="290" y="9"/>
                    </a:lnTo>
                    <a:lnTo>
                      <a:pt x="284" y="11"/>
                    </a:lnTo>
                    <a:lnTo>
                      <a:pt x="278" y="12"/>
                    </a:lnTo>
                    <a:lnTo>
                      <a:pt x="271" y="12"/>
                    </a:lnTo>
                    <a:lnTo>
                      <a:pt x="264" y="12"/>
                    </a:lnTo>
                    <a:lnTo>
                      <a:pt x="256" y="12"/>
                    </a:lnTo>
                    <a:lnTo>
                      <a:pt x="245" y="12"/>
                    </a:lnTo>
                    <a:lnTo>
                      <a:pt x="233" y="12"/>
                    </a:lnTo>
                    <a:lnTo>
                      <a:pt x="222" y="12"/>
                    </a:lnTo>
                    <a:lnTo>
                      <a:pt x="215" y="13"/>
                    </a:lnTo>
                    <a:lnTo>
                      <a:pt x="206" y="14"/>
                    </a:lnTo>
                    <a:lnTo>
                      <a:pt x="197" y="16"/>
                    </a:lnTo>
                    <a:lnTo>
                      <a:pt x="187" y="18"/>
                    </a:lnTo>
                    <a:lnTo>
                      <a:pt x="177" y="21"/>
                    </a:lnTo>
                    <a:lnTo>
                      <a:pt x="168" y="24"/>
                    </a:lnTo>
                    <a:lnTo>
                      <a:pt x="159" y="26"/>
                    </a:lnTo>
                    <a:lnTo>
                      <a:pt x="153" y="29"/>
                    </a:lnTo>
                    <a:lnTo>
                      <a:pt x="150" y="30"/>
                    </a:lnTo>
                    <a:lnTo>
                      <a:pt x="145" y="32"/>
                    </a:lnTo>
                    <a:lnTo>
                      <a:pt x="140" y="34"/>
                    </a:lnTo>
                    <a:lnTo>
                      <a:pt x="135" y="37"/>
                    </a:lnTo>
                    <a:lnTo>
                      <a:pt x="130" y="40"/>
                    </a:lnTo>
                    <a:lnTo>
                      <a:pt x="124" y="44"/>
                    </a:lnTo>
                    <a:lnTo>
                      <a:pt x="119" y="48"/>
                    </a:lnTo>
                    <a:lnTo>
                      <a:pt x="116" y="51"/>
                    </a:lnTo>
                    <a:lnTo>
                      <a:pt x="118" y="52"/>
                    </a:lnTo>
                    <a:lnTo>
                      <a:pt x="123" y="52"/>
                    </a:lnTo>
                    <a:lnTo>
                      <a:pt x="128" y="53"/>
                    </a:lnTo>
                    <a:lnTo>
                      <a:pt x="131" y="53"/>
                    </a:lnTo>
                    <a:lnTo>
                      <a:pt x="131" y="88"/>
                    </a:lnTo>
                    <a:lnTo>
                      <a:pt x="131" y="89"/>
                    </a:lnTo>
                    <a:lnTo>
                      <a:pt x="131" y="90"/>
                    </a:lnTo>
                    <a:lnTo>
                      <a:pt x="132" y="91"/>
                    </a:lnTo>
                    <a:lnTo>
                      <a:pt x="133" y="92"/>
                    </a:lnTo>
                    <a:lnTo>
                      <a:pt x="134" y="93"/>
                    </a:lnTo>
                    <a:lnTo>
                      <a:pt x="136" y="94"/>
                    </a:lnTo>
                    <a:lnTo>
                      <a:pt x="138" y="95"/>
                    </a:lnTo>
                    <a:lnTo>
                      <a:pt x="140" y="97"/>
                    </a:lnTo>
                    <a:lnTo>
                      <a:pt x="141" y="98"/>
                    </a:lnTo>
                    <a:lnTo>
                      <a:pt x="141" y="99"/>
                    </a:lnTo>
                    <a:lnTo>
                      <a:pt x="142" y="100"/>
                    </a:lnTo>
                    <a:lnTo>
                      <a:pt x="142" y="101"/>
                    </a:lnTo>
                    <a:lnTo>
                      <a:pt x="142" y="102"/>
                    </a:lnTo>
                    <a:lnTo>
                      <a:pt x="141" y="104"/>
                    </a:lnTo>
                    <a:lnTo>
                      <a:pt x="141" y="105"/>
                    </a:lnTo>
                    <a:lnTo>
                      <a:pt x="140" y="106"/>
                    </a:lnTo>
                    <a:lnTo>
                      <a:pt x="139" y="107"/>
                    </a:lnTo>
                    <a:lnTo>
                      <a:pt x="138" y="107"/>
                    </a:lnTo>
                    <a:lnTo>
                      <a:pt x="136" y="107"/>
                    </a:lnTo>
                    <a:lnTo>
                      <a:pt x="135" y="108"/>
                    </a:lnTo>
                    <a:lnTo>
                      <a:pt x="128" y="107"/>
                    </a:lnTo>
                    <a:lnTo>
                      <a:pt x="120" y="107"/>
                    </a:lnTo>
                    <a:lnTo>
                      <a:pt x="116" y="108"/>
                    </a:lnTo>
                    <a:lnTo>
                      <a:pt x="112" y="111"/>
                    </a:lnTo>
                    <a:lnTo>
                      <a:pt x="106" y="113"/>
                    </a:lnTo>
                    <a:lnTo>
                      <a:pt x="101" y="116"/>
                    </a:lnTo>
                    <a:lnTo>
                      <a:pt x="99" y="118"/>
                    </a:lnTo>
                    <a:lnTo>
                      <a:pt x="97" y="120"/>
                    </a:lnTo>
                    <a:lnTo>
                      <a:pt x="95" y="122"/>
                    </a:lnTo>
                    <a:lnTo>
                      <a:pt x="93" y="124"/>
                    </a:lnTo>
                    <a:lnTo>
                      <a:pt x="92" y="126"/>
                    </a:lnTo>
                    <a:lnTo>
                      <a:pt x="91" y="128"/>
                    </a:lnTo>
                    <a:lnTo>
                      <a:pt x="90" y="131"/>
                    </a:lnTo>
                    <a:lnTo>
                      <a:pt x="90" y="133"/>
                    </a:lnTo>
                    <a:lnTo>
                      <a:pt x="87" y="134"/>
                    </a:lnTo>
                    <a:lnTo>
                      <a:pt x="84" y="135"/>
                    </a:lnTo>
                    <a:lnTo>
                      <a:pt x="82" y="137"/>
                    </a:lnTo>
                    <a:lnTo>
                      <a:pt x="79" y="139"/>
                    </a:lnTo>
                    <a:lnTo>
                      <a:pt x="74" y="143"/>
                    </a:lnTo>
                    <a:lnTo>
                      <a:pt x="69" y="148"/>
                    </a:lnTo>
                    <a:lnTo>
                      <a:pt x="66" y="150"/>
                    </a:lnTo>
                    <a:lnTo>
                      <a:pt x="62" y="152"/>
                    </a:lnTo>
                    <a:lnTo>
                      <a:pt x="59" y="155"/>
                    </a:lnTo>
                    <a:lnTo>
                      <a:pt x="55" y="156"/>
                    </a:lnTo>
                    <a:lnTo>
                      <a:pt x="51" y="158"/>
                    </a:lnTo>
                    <a:lnTo>
                      <a:pt x="46" y="159"/>
                    </a:lnTo>
                    <a:lnTo>
                      <a:pt x="41" y="160"/>
                    </a:lnTo>
                    <a:lnTo>
                      <a:pt x="35" y="160"/>
                    </a:lnTo>
                    <a:lnTo>
                      <a:pt x="31" y="160"/>
                    </a:lnTo>
                    <a:lnTo>
                      <a:pt x="29" y="161"/>
                    </a:lnTo>
                    <a:lnTo>
                      <a:pt x="26" y="161"/>
                    </a:lnTo>
                    <a:lnTo>
                      <a:pt x="24" y="162"/>
                    </a:lnTo>
                    <a:lnTo>
                      <a:pt x="20" y="164"/>
                    </a:lnTo>
                    <a:lnTo>
                      <a:pt x="17" y="167"/>
                    </a:lnTo>
                    <a:lnTo>
                      <a:pt x="13" y="169"/>
                    </a:lnTo>
                    <a:lnTo>
                      <a:pt x="10" y="172"/>
                    </a:lnTo>
                    <a:lnTo>
                      <a:pt x="8" y="174"/>
                    </a:lnTo>
                    <a:lnTo>
                      <a:pt x="6" y="175"/>
                    </a:lnTo>
                    <a:lnTo>
                      <a:pt x="3" y="176"/>
                    </a:lnTo>
                    <a:lnTo>
                      <a:pt x="0" y="177"/>
                    </a:lnTo>
                    <a:lnTo>
                      <a:pt x="0" y="200"/>
                    </a:lnTo>
                    <a:lnTo>
                      <a:pt x="0" y="208"/>
                    </a:lnTo>
                    <a:lnTo>
                      <a:pt x="69" y="253"/>
                    </a:lnTo>
                    <a:lnTo>
                      <a:pt x="170" y="323"/>
                    </a:lnTo>
                    <a:lnTo>
                      <a:pt x="179" y="331"/>
                    </a:lnTo>
                    <a:lnTo>
                      <a:pt x="185" y="341"/>
                    </a:lnTo>
                    <a:lnTo>
                      <a:pt x="189" y="344"/>
                    </a:lnTo>
                    <a:lnTo>
                      <a:pt x="194" y="347"/>
                    </a:lnTo>
                    <a:lnTo>
                      <a:pt x="201" y="352"/>
                    </a:lnTo>
                    <a:lnTo>
                      <a:pt x="210" y="357"/>
                    </a:lnTo>
                    <a:lnTo>
                      <a:pt x="218" y="362"/>
                    </a:lnTo>
                    <a:lnTo>
                      <a:pt x="226" y="366"/>
                    </a:lnTo>
                    <a:lnTo>
                      <a:pt x="229" y="368"/>
                    </a:lnTo>
                    <a:lnTo>
                      <a:pt x="232" y="369"/>
                    </a:lnTo>
                    <a:lnTo>
                      <a:pt x="234" y="370"/>
                    </a:lnTo>
                    <a:lnTo>
                      <a:pt x="235" y="370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17" name="Freeform 238"/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3850355" y="1998221"/>
                <a:ext cx="808255" cy="776567"/>
              </a:xfrm>
              <a:custGeom>
                <a:avLst/>
                <a:gdLst/>
                <a:ahLst/>
                <a:cxnLst>
                  <a:cxn ang="0">
                    <a:pos x="36" y="141"/>
                  </a:cxn>
                  <a:cxn ang="0">
                    <a:pos x="46" y="109"/>
                  </a:cxn>
                  <a:cxn ang="0">
                    <a:pos x="46" y="70"/>
                  </a:cxn>
                  <a:cxn ang="0">
                    <a:pos x="61" y="64"/>
                  </a:cxn>
                  <a:cxn ang="0">
                    <a:pos x="89" y="55"/>
                  </a:cxn>
                  <a:cxn ang="0">
                    <a:pos x="99" y="20"/>
                  </a:cxn>
                  <a:cxn ang="0">
                    <a:pos x="168" y="6"/>
                  </a:cxn>
                  <a:cxn ang="0">
                    <a:pos x="242" y="24"/>
                  </a:cxn>
                  <a:cxn ang="0">
                    <a:pos x="273" y="43"/>
                  </a:cxn>
                  <a:cxn ang="0">
                    <a:pos x="285" y="78"/>
                  </a:cxn>
                  <a:cxn ang="0">
                    <a:pos x="295" y="101"/>
                  </a:cxn>
                  <a:cxn ang="0">
                    <a:pos x="325" y="110"/>
                  </a:cxn>
                  <a:cxn ang="0">
                    <a:pos x="363" y="109"/>
                  </a:cxn>
                  <a:cxn ang="0">
                    <a:pos x="421" y="133"/>
                  </a:cxn>
                  <a:cxn ang="0">
                    <a:pos x="478" y="162"/>
                  </a:cxn>
                  <a:cxn ang="0">
                    <a:pos x="513" y="166"/>
                  </a:cxn>
                  <a:cxn ang="0">
                    <a:pos x="538" y="158"/>
                  </a:cxn>
                  <a:cxn ang="0">
                    <a:pos x="549" y="126"/>
                  </a:cxn>
                  <a:cxn ang="0">
                    <a:pos x="544" y="103"/>
                  </a:cxn>
                  <a:cxn ang="0">
                    <a:pos x="531" y="81"/>
                  </a:cxn>
                  <a:cxn ang="0">
                    <a:pos x="539" y="49"/>
                  </a:cxn>
                  <a:cxn ang="0">
                    <a:pos x="574" y="34"/>
                  </a:cxn>
                  <a:cxn ang="0">
                    <a:pos x="617" y="4"/>
                  </a:cxn>
                  <a:cxn ang="0">
                    <a:pos x="650" y="0"/>
                  </a:cxn>
                  <a:cxn ang="0">
                    <a:pos x="681" y="6"/>
                  </a:cxn>
                  <a:cxn ang="0">
                    <a:pos x="695" y="24"/>
                  </a:cxn>
                  <a:cxn ang="0">
                    <a:pos x="706" y="50"/>
                  </a:cxn>
                  <a:cxn ang="0">
                    <a:pos x="728" y="63"/>
                  </a:cxn>
                  <a:cxn ang="0">
                    <a:pos x="798" y="71"/>
                  </a:cxn>
                  <a:cxn ang="0">
                    <a:pos x="830" y="97"/>
                  </a:cxn>
                  <a:cxn ang="0">
                    <a:pos x="834" y="117"/>
                  </a:cxn>
                  <a:cxn ang="0">
                    <a:pos x="843" y="140"/>
                  </a:cxn>
                  <a:cxn ang="0">
                    <a:pos x="836" y="159"/>
                  </a:cxn>
                  <a:cxn ang="0">
                    <a:pos x="824" y="170"/>
                  </a:cxn>
                  <a:cxn ang="0">
                    <a:pos x="829" y="207"/>
                  </a:cxn>
                  <a:cxn ang="0">
                    <a:pos x="858" y="245"/>
                  </a:cxn>
                  <a:cxn ang="0">
                    <a:pos x="876" y="687"/>
                  </a:cxn>
                  <a:cxn ang="0">
                    <a:pos x="877" y="741"/>
                  </a:cxn>
                  <a:cxn ang="0">
                    <a:pos x="870" y="775"/>
                  </a:cxn>
                  <a:cxn ang="0">
                    <a:pos x="848" y="783"/>
                  </a:cxn>
                  <a:cxn ang="0">
                    <a:pos x="830" y="804"/>
                  </a:cxn>
                  <a:cxn ang="0">
                    <a:pos x="366" y="593"/>
                  </a:cxn>
                  <a:cxn ang="0">
                    <a:pos x="331" y="607"/>
                  </a:cxn>
                  <a:cxn ang="0">
                    <a:pos x="292" y="626"/>
                  </a:cxn>
                  <a:cxn ang="0">
                    <a:pos x="263" y="627"/>
                  </a:cxn>
                  <a:cxn ang="0">
                    <a:pos x="230" y="609"/>
                  </a:cxn>
                  <a:cxn ang="0">
                    <a:pos x="193" y="586"/>
                  </a:cxn>
                  <a:cxn ang="0">
                    <a:pos x="152" y="578"/>
                  </a:cxn>
                  <a:cxn ang="0">
                    <a:pos x="138" y="577"/>
                  </a:cxn>
                  <a:cxn ang="0">
                    <a:pos x="130" y="553"/>
                  </a:cxn>
                  <a:cxn ang="0">
                    <a:pos x="109" y="535"/>
                  </a:cxn>
                  <a:cxn ang="0">
                    <a:pos x="63" y="517"/>
                  </a:cxn>
                  <a:cxn ang="0">
                    <a:pos x="28" y="499"/>
                  </a:cxn>
                  <a:cxn ang="0">
                    <a:pos x="16" y="482"/>
                  </a:cxn>
                  <a:cxn ang="0">
                    <a:pos x="14" y="439"/>
                  </a:cxn>
                  <a:cxn ang="0">
                    <a:pos x="19" y="352"/>
                  </a:cxn>
                  <a:cxn ang="0">
                    <a:pos x="17" y="258"/>
                  </a:cxn>
                  <a:cxn ang="0">
                    <a:pos x="4" y="202"/>
                  </a:cxn>
                </a:cxnLst>
                <a:rect l="0" t="0" r="r" b="b"/>
                <a:pathLst>
                  <a:path w="877" h="826">
                    <a:moveTo>
                      <a:pt x="0" y="190"/>
                    </a:moveTo>
                    <a:lnTo>
                      <a:pt x="16" y="167"/>
                    </a:lnTo>
                    <a:lnTo>
                      <a:pt x="33" y="147"/>
                    </a:lnTo>
                    <a:lnTo>
                      <a:pt x="36" y="141"/>
                    </a:lnTo>
                    <a:lnTo>
                      <a:pt x="39" y="133"/>
                    </a:lnTo>
                    <a:lnTo>
                      <a:pt x="41" y="126"/>
                    </a:lnTo>
                    <a:lnTo>
                      <a:pt x="43" y="118"/>
                    </a:lnTo>
                    <a:lnTo>
                      <a:pt x="46" y="109"/>
                    </a:lnTo>
                    <a:lnTo>
                      <a:pt x="47" y="99"/>
                    </a:lnTo>
                    <a:lnTo>
                      <a:pt x="47" y="87"/>
                    </a:lnTo>
                    <a:lnTo>
                      <a:pt x="46" y="73"/>
                    </a:lnTo>
                    <a:lnTo>
                      <a:pt x="46" y="70"/>
                    </a:lnTo>
                    <a:lnTo>
                      <a:pt x="47" y="67"/>
                    </a:lnTo>
                    <a:lnTo>
                      <a:pt x="49" y="66"/>
                    </a:lnTo>
                    <a:lnTo>
                      <a:pt x="52" y="65"/>
                    </a:lnTo>
                    <a:lnTo>
                      <a:pt x="61" y="64"/>
                    </a:lnTo>
                    <a:lnTo>
                      <a:pt x="72" y="63"/>
                    </a:lnTo>
                    <a:lnTo>
                      <a:pt x="78" y="61"/>
                    </a:lnTo>
                    <a:lnTo>
                      <a:pt x="83" y="59"/>
                    </a:lnTo>
                    <a:lnTo>
                      <a:pt x="89" y="55"/>
                    </a:lnTo>
                    <a:lnTo>
                      <a:pt x="93" y="50"/>
                    </a:lnTo>
                    <a:lnTo>
                      <a:pt x="96" y="42"/>
                    </a:lnTo>
                    <a:lnTo>
                      <a:pt x="98" y="33"/>
                    </a:lnTo>
                    <a:lnTo>
                      <a:pt x="99" y="20"/>
                    </a:lnTo>
                    <a:lnTo>
                      <a:pt x="98" y="6"/>
                    </a:lnTo>
                    <a:lnTo>
                      <a:pt x="124" y="4"/>
                    </a:lnTo>
                    <a:lnTo>
                      <a:pt x="147" y="5"/>
                    </a:lnTo>
                    <a:lnTo>
                      <a:pt x="168" y="6"/>
                    </a:lnTo>
                    <a:lnTo>
                      <a:pt x="188" y="9"/>
                    </a:lnTo>
                    <a:lnTo>
                      <a:pt x="208" y="13"/>
                    </a:lnTo>
                    <a:lnTo>
                      <a:pt x="226" y="18"/>
                    </a:lnTo>
                    <a:lnTo>
                      <a:pt x="242" y="24"/>
                    </a:lnTo>
                    <a:lnTo>
                      <a:pt x="259" y="31"/>
                    </a:lnTo>
                    <a:lnTo>
                      <a:pt x="264" y="35"/>
                    </a:lnTo>
                    <a:lnTo>
                      <a:pt x="269" y="39"/>
                    </a:lnTo>
                    <a:lnTo>
                      <a:pt x="273" y="43"/>
                    </a:lnTo>
                    <a:lnTo>
                      <a:pt x="276" y="47"/>
                    </a:lnTo>
                    <a:lnTo>
                      <a:pt x="281" y="57"/>
                    </a:lnTo>
                    <a:lnTo>
                      <a:pt x="283" y="67"/>
                    </a:lnTo>
                    <a:lnTo>
                      <a:pt x="285" y="78"/>
                    </a:lnTo>
                    <a:lnTo>
                      <a:pt x="288" y="88"/>
                    </a:lnTo>
                    <a:lnTo>
                      <a:pt x="289" y="93"/>
                    </a:lnTo>
                    <a:lnTo>
                      <a:pt x="292" y="97"/>
                    </a:lnTo>
                    <a:lnTo>
                      <a:pt x="295" y="101"/>
                    </a:lnTo>
                    <a:lnTo>
                      <a:pt x="298" y="105"/>
                    </a:lnTo>
                    <a:lnTo>
                      <a:pt x="306" y="108"/>
                    </a:lnTo>
                    <a:lnTo>
                      <a:pt x="315" y="110"/>
                    </a:lnTo>
                    <a:lnTo>
                      <a:pt x="325" y="110"/>
                    </a:lnTo>
                    <a:lnTo>
                      <a:pt x="334" y="110"/>
                    </a:lnTo>
                    <a:lnTo>
                      <a:pt x="344" y="109"/>
                    </a:lnTo>
                    <a:lnTo>
                      <a:pt x="354" y="109"/>
                    </a:lnTo>
                    <a:lnTo>
                      <a:pt x="363" y="109"/>
                    </a:lnTo>
                    <a:lnTo>
                      <a:pt x="372" y="111"/>
                    </a:lnTo>
                    <a:lnTo>
                      <a:pt x="388" y="117"/>
                    </a:lnTo>
                    <a:lnTo>
                      <a:pt x="405" y="124"/>
                    </a:lnTo>
                    <a:lnTo>
                      <a:pt x="421" y="133"/>
                    </a:lnTo>
                    <a:lnTo>
                      <a:pt x="438" y="143"/>
                    </a:lnTo>
                    <a:lnTo>
                      <a:pt x="454" y="152"/>
                    </a:lnTo>
                    <a:lnTo>
                      <a:pt x="471" y="159"/>
                    </a:lnTo>
                    <a:lnTo>
                      <a:pt x="478" y="162"/>
                    </a:lnTo>
                    <a:lnTo>
                      <a:pt x="487" y="164"/>
                    </a:lnTo>
                    <a:lnTo>
                      <a:pt x="496" y="166"/>
                    </a:lnTo>
                    <a:lnTo>
                      <a:pt x="505" y="166"/>
                    </a:lnTo>
                    <a:lnTo>
                      <a:pt x="513" y="166"/>
                    </a:lnTo>
                    <a:lnTo>
                      <a:pt x="521" y="166"/>
                    </a:lnTo>
                    <a:lnTo>
                      <a:pt x="529" y="166"/>
                    </a:lnTo>
                    <a:lnTo>
                      <a:pt x="538" y="166"/>
                    </a:lnTo>
                    <a:lnTo>
                      <a:pt x="538" y="158"/>
                    </a:lnTo>
                    <a:lnTo>
                      <a:pt x="540" y="150"/>
                    </a:lnTo>
                    <a:lnTo>
                      <a:pt x="542" y="143"/>
                    </a:lnTo>
                    <a:lnTo>
                      <a:pt x="544" y="137"/>
                    </a:lnTo>
                    <a:lnTo>
                      <a:pt x="549" y="126"/>
                    </a:lnTo>
                    <a:lnTo>
                      <a:pt x="551" y="117"/>
                    </a:lnTo>
                    <a:lnTo>
                      <a:pt x="550" y="112"/>
                    </a:lnTo>
                    <a:lnTo>
                      <a:pt x="547" y="108"/>
                    </a:lnTo>
                    <a:lnTo>
                      <a:pt x="544" y="103"/>
                    </a:lnTo>
                    <a:lnTo>
                      <a:pt x="541" y="98"/>
                    </a:lnTo>
                    <a:lnTo>
                      <a:pt x="537" y="93"/>
                    </a:lnTo>
                    <a:lnTo>
                      <a:pt x="534" y="87"/>
                    </a:lnTo>
                    <a:lnTo>
                      <a:pt x="531" y="81"/>
                    </a:lnTo>
                    <a:lnTo>
                      <a:pt x="531" y="73"/>
                    </a:lnTo>
                    <a:lnTo>
                      <a:pt x="531" y="61"/>
                    </a:lnTo>
                    <a:lnTo>
                      <a:pt x="531" y="49"/>
                    </a:lnTo>
                    <a:lnTo>
                      <a:pt x="539" y="49"/>
                    </a:lnTo>
                    <a:lnTo>
                      <a:pt x="547" y="47"/>
                    </a:lnTo>
                    <a:lnTo>
                      <a:pt x="554" y="45"/>
                    </a:lnTo>
                    <a:lnTo>
                      <a:pt x="562" y="42"/>
                    </a:lnTo>
                    <a:lnTo>
                      <a:pt x="574" y="34"/>
                    </a:lnTo>
                    <a:lnTo>
                      <a:pt x="586" y="24"/>
                    </a:lnTo>
                    <a:lnTo>
                      <a:pt x="598" y="15"/>
                    </a:lnTo>
                    <a:lnTo>
                      <a:pt x="610" y="7"/>
                    </a:lnTo>
                    <a:lnTo>
                      <a:pt x="617" y="4"/>
                    </a:lnTo>
                    <a:lnTo>
                      <a:pt x="623" y="2"/>
                    </a:lnTo>
                    <a:lnTo>
                      <a:pt x="630" y="0"/>
                    </a:lnTo>
                    <a:lnTo>
                      <a:pt x="638" y="0"/>
                    </a:lnTo>
                    <a:lnTo>
                      <a:pt x="650" y="0"/>
                    </a:lnTo>
                    <a:lnTo>
                      <a:pt x="659" y="1"/>
                    </a:lnTo>
                    <a:lnTo>
                      <a:pt x="668" y="2"/>
                    </a:lnTo>
                    <a:lnTo>
                      <a:pt x="676" y="4"/>
                    </a:lnTo>
                    <a:lnTo>
                      <a:pt x="681" y="6"/>
                    </a:lnTo>
                    <a:lnTo>
                      <a:pt x="685" y="9"/>
                    </a:lnTo>
                    <a:lnTo>
                      <a:pt x="688" y="12"/>
                    </a:lnTo>
                    <a:lnTo>
                      <a:pt x="691" y="16"/>
                    </a:lnTo>
                    <a:lnTo>
                      <a:pt x="695" y="24"/>
                    </a:lnTo>
                    <a:lnTo>
                      <a:pt x="698" y="34"/>
                    </a:lnTo>
                    <a:lnTo>
                      <a:pt x="700" y="39"/>
                    </a:lnTo>
                    <a:lnTo>
                      <a:pt x="702" y="44"/>
                    </a:lnTo>
                    <a:lnTo>
                      <a:pt x="706" y="50"/>
                    </a:lnTo>
                    <a:lnTo>
                      <a:pt x="710" y="55"/>
                    </a:lnTo>
                    <a:lnTo>
                      <a:pt x="715" y="58"/>
                    </a:lnTo>
                    <a:lnTo>
                      <a:pt x="721" y="61"/>
                    </a:lnTo>
                    <a:lnTo>
                      <a:pt x="728" y="63"/>
                    </a:lnTo>
                    <a:lnTo>
                      <a:pt x="734" y="65"/>
                    </a:lnTo>
                    <a:lnTo>
                      <a:pt x="750" y="67"/>
                    </a:lnTo>
                    <a:lnTo>
                      <a:pt x="765" y="69"/>
                    </a:lnTo>
                    <a:lnTo>
                      <a:pt x="798" y="71"/>
                    </a:lnTo>
                    <a:lnTo>
                      <a:pt x="830" y="73"/>
                    </a:lnTo>
                    <a:lnTo>
                      <a:pt x="830" y="83"/>
                    </a:lnTo>
                    <a:lnTo>
                      <a:pt x="830" y="90"/>
                    </a:lnTo>
                    <a:lnTo>
                      <a:pt x="830" y="97"/>
                    </a:lnTo>
                    <a:lnTo>
                      <a:pt x="830" y="105"/>
                    </a:lnTo>
                    <a:lnTo>
                      <a:pt x="830" y="109"/>
                    </a:lnTo>
                    <a:lnTo>
                      <a:pt x="832" y="113"/>
                    </a:lnTo>
                    <a:lnTo>
                      <a:pt x="834" y="117"/>
                    </a:lnTo>
                    <a:lnTo>
                      <a:pt x="836" y="121"/>
                    </a:lnTo>
                    <a:lnTo>
                      <a:pt x="838" y="126"/>
                    </a:lnTo>
                    <a:lnTo>
                      <a:pt x="841" y="132"/>
                    </a:lnTo>
                    <a:lnTo>
                      <a:pt x="843" y="140"/>
                    </a:lnTo>
                    <a:lnTo>
                      <a:pt x="843" y="148"/>
                    </a:lnTo>
                    <a:lnTo>
                      <a:pt x="842" y="152"/>
                    </a:lnTo>
                    <a:lnTo>
                      <a:pt x="840" y="156"/>
                    </a:lnTo>
                    <a:lnTo>
                      <a:pt x="836" y="159"/>
                    </a:lnTo>
                    <a:lnTo>
                      <a:pt x="833" y="162"/>
                    </a:lnTo>
                    <a:lnTo>
                      <a:pt x="830" y="165"/>
                    </a:lnTo>
                    <a:lnTo>
                      <a:pt x="826" y="168"/>
                    </a:lnTo>
                    <a:lnTo>
                      <a:pt x="824" y="170"/>
                    </a:lnTo>
                    <a:lnTo>
                      <a:pt x="823" y="172"/>
                    </a:lnTo>
                    <a:lnTo>
                      <a:pt x="824" y="184"/>
                    </a:lnTo>
                    <a:lnTo>
                      <a:pt x="825" y="196"/>
                    </a:lnTo>
                    <a:lnTo>
                      <a:pt x="829" y="207"/>
                    </a:lnTo>
                    <a:lnTo>
                      <a:pt x="834" y="217"/>
                    </a:lnTo>
                    <a:lnTo>
                      <a:pt x="841" y="227"/>
                    </a:lnTo>
                    <a:lnTo>
                      <a:pt x="848" y="236"/>
                    </a:lnTo>
                    <a:lnTo>
                      <a:pt x="858" y="245"/>
                    </a:lnTo>
                    <a:lnTo>
                      <a:pt x="869" y="253"/>
                    </a:lnTo>
                    <a:lnTo>
                      <a:pt x="876" y="671"/>
                    </a:lnTo>
                    <a:lnTo>
                      <a:pt x="876" y="680"/>
                    </a:lnTo>
                    <a:lnTo>
                      <a:pt x="876" y="687"/>
                    </a:lnTo>
                    <a:lnTo>
                      <a:pt x="876" y="697"/>
                    </a:lnTo>
                    <a:lnTo>
                      <a:pt x="876" y="709"/>
                    </a:lnTo>
                    <a:lnTo>
                      <a:pt x="877" y="726"/>
                    </a:lnTo>
                    <a:lnTo>
                      <a:pt x="877" y="741"/>
                    </a:lnTo>
                    <a:lnTo>
                      <a:pt x="877" y="756"/>
                    </a:lnTo>
                    <a:lnTo>
                      <a:pt x="876" y="766"/>
                    </a:lnTo>
                    <a:lnTo>
                      <a:pt x="874" y="771"/>
                    </a:lnTo>
                    <a:lnTo>
                      <a:pt x="870" y="775"/>
                    </a:lnTo>
                    <a:lnTo>
                      <a:pt x="867" y="778"/>
                    </a:lnTo>
                    <a:lnTo>
                      <a:pt x="863" y="780"/>
                    </a:lnTo>
                    <a:lnTo>
                      <a:pt x="856" y="782"/>
                    </a:lnTo>
                    <a:lnTo>
                      <a:pt x="848" y="783"/>
                    </a:lnTo>
                    <a:lnTo>
                      <a:pt x="840" y="783"/>
                    </a:lnTo>
                    <a:lnTo>
                      <a:pt x="830" y="782"/>
                    </a:lnTo>
                    <a:lnTo>
                      <a:pt x="830" y="792"/>
                    </a:lnTo>
                    <a:lnTo>
                      <a:pt x="830" y="804"/>
                    </a:lnTo>
                    <a:lnTo>
                      <a:pt x="830" y="816"/>
                    </a:lnTo>
                    <a:lnTo>
                      <a:pt x="830" y="826"/>
                    </a:lnTo>
                    <a:lnTo>
                      <a:pt x="378" y="592"/>
                    </a:lnTo>
                    <a:lnTo>
                      <a:pt x="366" y="593"/>
                    </a:lnTo>
                    <a:lnTo>
                      <a:pt x="359" y="595"/>
                    </a:lnTo>
                    <a:lnTo>
                      <a:pt x="353" y="597"/>
                    </a:lnTo>
                    <a:lnTo>
                      <a:pt x="344" y="598"/>
                    </a:lnTo>
                    <a:lnTo>
                      <a:pt x="331" y="607"/>
                    </a:lnTo>
                    <a:lnTo>
                      <a:pt x="318" y="616"/>
                    </a:lnTo>
                    <a:lnTo>
                      <a:pt x="308" y="620"/>
                    </a:lnTo>
                    <a:lnTo>
                      <a:pt x="297" y="624"/>
                    </a:lnTo>
                    <a:lnTo>
                      <a:pt x="292" y="626"/>
                    </a:lnTo>
                    <a:lnTo>
                      <a:pt x="285" y="627"/>
                    </a:lnTo>
                    <a:lnTo>
                      <a:pt x="278" y="628"/>
                    </a:lnTo>
                    <a:lnTo>
                      <a:pt x="272" y="628"/>
                    </a:lnTo>
                    <a:lnTo>
                      <a:pt x="263" y="627"/>
                    </a:lnTo>
                    <a:lnTo>
                      <a:pt x="254" y="624"/>
                    </a:lnTo>
                    <a:lnTo>
                      <a:pt x="246" y="620"/>
                    </a:lnTo>
                    <a:lnTo>
                      <a:pt x="238" y="614"/>
                    </a:lnTo>
                    <a:lnTo>
                      <a:pt x="230" y="609"/>
                    </a:lnTo>
                    <a:lnTo>
                      <a:pt x="224" y="602"/>
                    </a:lnTo>
                    <a:lnTo>
                      <a:pt x="220" y="597"/>
                    </a:lnTo>
                    <a:lnTo>
                      <a:pt x="218" y="592"/>
                    </a:lnTo>
                    <a:lnTo>
                      <a:pt x="193" y="586"/>
                    </a:lnTo>
                    <a:lnTo>
                      <a:pt x="173" y="579"/>
                    </a:lnTo>
                    <a:lnTo>
                      <a:pt x="165" y="577"/>
                    </a:lnTo>
                    <a:lnTo>
                      <a:pt x="157" y="577"/>
                    </a:lnTo>
                    <a:lnTo>
                      <a:pt x="152" y="578"/>
                    </a:lnTo>
                    <a:lnTo>
                      <a:pt x="148" y="579"/>
                    </a:lnTo>
                    <a:lnTo>
                      <a:pt x="143" y="583"/>
                    </a:lnTo>
                    <a:lnTo>
                      <a:pt x="139" y="586"/>
                    </a:lnTo>
                    <a:lnTo>
                      <a:pt x="138" y="577"/>
                    </a:lnTo>
                    <a:lnTo>
                      <a:pt x="137" y="570"/>
                    </a:lnTo>
                    <a:lnTo>
                      <a:pt x="136" y="564"/>
                    </a:lnTo>
                    <a:lnTo>
                      <a:pt x="134" y="558"/>
                    </a:lnTo>
                    <a:lnTo>
                      <a:pt x="130" y="553"/>
                    </a:lnTo>
                    <a:lnTo>
                      <a:pt x="127" y="549"/>
                    </a:lnTo>
                    <a:lnTo>
                      <a:pt x="124" y="545"/>
                    </a:lnTo>
                    <a:lnTo>
                      <a:pt x="119" y="541"/>
                    </a:lnTo>
                    <a:lnTo>
                      <a:pt x="109" y="535"/>
                    </a:lnTo>
                    <a:lnTo>
                      <a:pt x="98" y="530"/>
                    </a:lnTo>
                    <a:lnTo>
                      <a:pt x="87" y="526"/>
                    </a:lnTo>
                    <a:lnTo>
                      <a:pt x="75" y="521"/>
                    </a:lnTo>
                    <a:lnTo>
                      <a:pt x="63" y="517"/>
                    </a:lnTo>
                    <a:lnTo>
                      <a:pt x="52" y="513"/>
                    </a:lnTo>
                    <a:lnTo>
                      <a:pt x="41" y="509"/>
                    </a:lnTo>
                    <a:lnTo>
                      <a:pt x="33" y="503"/>
                    </a:lnTo>
                    <a:lnTo>
                      <a:pt x="28" y="499"/>
                    </a:lnTo>
                    <a:lnTo>
                      <a:pt x="24" y="496"/>
                    </a:lnTo>
                    <a:lnTo>
                      <a:pt x="20" y="492"/>
                    </a:lnTo>
                    <a:lnTo>
                      <a:pt x="18" y="487"/>
                    </a:lnTo>
                    <a:lnTo>
                      <a:pt x="16" y="482"/>
                    </a:lnTo>
                    <a:lnTo>
                      <a:pt x="14" y="476"/>
                    </a:lnTo>
                    <a:lnTo>
                      <a:pt x="13" y="469"/>
                    </a:lnTo>
                    <a:lnTo>
                      <a:pt x="13" y="462"/>
                    </a:lnTo>
                    <a:lnTo>
                      <a:pt x="14" y="439"/>
                    </a:lnTo>
                    <a:lnTo>
                      <a:pt x="16" y="417"/>
                    </a:lnTo>
                    <a:lnTo>
                      <a:pt x="18" y="395"/>
                    </a:lnTo>
                    <a:lnTo>
                      <a:pt x="19" y="376"/>
                    </a:lnTo>
                    <a:lnTo>
                      <a:pt x="19" y="352"/>
                    </a:lnTo>
                    <a:lnTo>
                      <a:pt x="19" y="329"/>
                    </a:lnTo>
                    <a:lnTo>
                      <a:pt x="19" y="305"/>
                    </a:lnTo>
                    <a:lnTo>
                      <a:pt x="19" y="281"/>
                    </a:lnTo>
                    <a:lnTo>
                      <a:pt x="17" y="258"/>
                    </a:lnTo>
                    <a:lnTo>
                      <a:pt x="14" y="234"/>
                    </a:lnTo>
                    <a:lnTo>
                      <a:pt x="11" y="223"/>
                    </a:lnTo>
                    <a:lnTo>
                      <a:pt x="7" y="212"/>
                    </a:lnTo>
                    <a:lnTo>
                      <a:pt x="4" y="202"/>
                    </a:lnTo>
                    <a:lnTo>
                      <a:pt x="0" y="190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18" name="Freeform 239"/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3750162" y="1758190"/>
                <a:ext cx="197056" cy="420759"/>
              </a:xfrm>
              <a:custGeom>
                <a:avLst/>
                <a:gdLst/>
                <a:ahLst/>
                <a:cxnLst>
                  <a:cxn ang="0">
                    <a:pos x="103" y="441"/>
                  </a:cxn>
                  <a:cxn ang="0">
                    <a:pos x="125" y="420"/>
                  </a:cxn>
                  <a:cxn ang="0">
                    <a:pos x="140" y="404"/>
                  </a:cxn>
                  <a:cxn ang="0">
                    <a:pos x="147" y="390"/>
                  </a:cxn>
                  <a:cxn ang="0">
                    <a:pos x="152" y="373"/>
                  </a:cxn>
                  <a:cxn ang="0">
                    <a:pos x="154" y="352"/>
                  </a:cxn>
                  <a:cxn ang="0">
                    <a:pos x="153" y="335"/>
                  </a:cxn>
                  <a:cxn ang="0">
                    <a:pos x="156" y="331"/>
                  </a:cxn>
                  <a:cxn ang="0">
                    <a:pos x="168" y="329"/>
                  </a:cxn>
                  <a:cxn ang="0">
                    <a:pos x="185" y="325"/>
                  </a:cxn>
                  <a:cxn ang="0">
                    <a:pos x="196" y="318"/>
                  </a:cxn>
                  <a:cxn ang="0">
                    <a:pos x="203" y="304"/>
                  </a:cxn>
                  <a:cxn ang="0">
                    <a:pos x="206" y="280"/>
                  </a:cxn>
                  <a:cxn ang="0">
                    <a:pos x="202" y="265"/>
                  </a:cxn>
                  <a:cxn ang="0">
                    <a:pos x="193" y="264"/>
                  </a:cxn>
                  <a:cxn ang="0">
                    <a:pos x="177" y="256"/>
                  </a:cxn>
                  <a:cxn ang="0">
                    <a:pos x="155" y="242"/>
                  </a:cxn>
                  <a:cxn ang="0">
                    <a:pos x="140" y="231"/>
                  </a:cxn>
                  <a:cxn ang="0">
                    <a:pos x="130" y="228"/>
                  </a:cxn>
                  <a:cxn ang="0">
                    <a:pos x="119" y="222"/>
                  </a:cxn>
                  <a:cxn ang="0">
                    <a:pos x="101" y="212"/>
                  </a:cxn>
                  <a:cxn ang="0">
                    <a:pos x="95" y="206"/>
                  </a:cxn>
                  <a:cxn ang="0">
                    <a:pos x="95" y="199"/>
                  </a:cxn>
                  <a:cxn ang="0">
                    <a:pos x="104" y="181"/>
                  </a:cxn>
                  <a:cxn ang="0">
                    <a:pos x="119" y="158"/>
                  </a:cxn>
                  <a:cxn ang="0">
                    <a:pos x="134" y="140"/>
                  </a:cxn>
                  <a:cxn ang="0">
                    <a:pos x="136" y="129"/>
                  </a:cxn>
                  <a:cxn ang="0">
                    <a:pos x="126" y="116"/>
                  </a:cxn>
                  <a:cxn ang="0">
                    <a:pos x="115" y="105"/>
                  </a:cxn>
                  <a:cxn ang="0">
                    <a:pos x="108" y="93"/>
                  </a:cxn>
                  <a:cxn ang="0">
                    <a:pos x="107" y="84"/>
                  </a:cxn>
                  <a:cxn ang="0">
                    <a:pos x="111" y="78"/>
                  </a:cxn>
                  <a:cxn ang="0">
                    <a:pos x="116" y="72"/>
                  </a:cxn>
                  <a:cxn ang="0">
                    <a:pos x="123" y="69"/>
                  </a:cxn>
                  <a:cxn ang="0">
                    <a:pos x="126" y="37"/>
                  </a:cxn>
                  <a:cxn ang="0">
                    <a:pos x="110" y="32"/>
                  </a:cxn>
                  <a:cxn ang="0">
                    <a:pos x="87" y="21"/>
                  </a:cxn>
                  <a:cxn ang="0">
                    <a:pos x="53" y="0"/>
                  </a:cxn>
                  <a:cxn ang="0">
                    <a:pos x="47" y="11"/>
                  </a:cxn>
                  <a:cxn ang="0">
                    <a:pos x="34" y="44"/>
                  </a:cxn>
                  <a:cxn ang="0">
                    <a:pos x="28" y="70"/>
                  </a:cxn>
                  <a:cxn ang="0">
                    <a:pos x="22" y="99"/>
                  </a:cxn>
                  <a:cxn ang="0">
                    <a:pos x="20" y="133"/>
                  </a:cxn>
                  <a:cxn ang="0">
                    <a:pos x="20" y="172"/>
                  </a:cxn>
                  <a:cxn ang="0">
                    <a:pos x="12" y="188"/>
                  </a:cxn>
                  <a:cxn ang="0">
                    <a:pos x="8" y="206"/>
                  </a:cxn>
                  <a:cxn ang="0">
                    <a:pos x="0" y="235"/>
                  </a:cxn>
                  <a:cxn ang="0">
                    <a:pos x="22" y="259"/>
                  </a:cxn>
                  <a:cxn ang="0">
                    <a:pos x="41" y="281"/>
                  </a:cxn>
                  <a:cxn ang="0">
                    <a:pos x="55" y="305"/>
                  </a:cxn>
                  <a:cxn ang="0">
                    <a:pos x="66" y="329"/>
                  </a:cxn>
                  <a:cxn ang="0">
                    <a:pos x="75" y="355"/>
                  </a:cxn>
                  <a:cxn ang="0">
                    <a:pos x="82" y="384"/>
                  </a:cxn>
                  <a:cxn ang="0">
                    <a:pos x="93" y="455"/>
                  </a:cxn>
                </a:cxnLst>
                <a:rect l="0" t="0" r="r" b="b"/>
                <a:pathLst>
                  <a:path w="206" h="455">
                    <a:moveTo>
                      <a:pt x="93" y="455"/>
                    </a:moveTo>
                    <a:lnTo>
                      <a:pt x="103" y="441"/>
                    </a:lnTo>
                    <a:lnTo>
                      <a:pt x="114" y="430"/>
                    </a:lnTo>
                    <a:lnTo>
                      <a:pt x="125" y="420"/>
                    </a:lnTo>
                    <a:lnTo>
                      <a:pt x="135" y="409"/>
                    </a:lnTo>
                    <a:lnTo>
                      <a:pt x="140" y="404"/>
                    </a:lnTo>
                    <a:lnTo>
                      <a:pt x="144" y="397"/>
                    </a:lnTo>
                    <a:lnTo>
                      <a:pt x="147" y="390"/>
                    </a:lnTo>
                    <a:lnTo>
                      <a:pt x="149" y="382"/>
                    </a:lnTo>
                    <a:lnTo>
                      <a:pt x="152" y="373"/>
                    </a:lnTo>
                    <a:lnTo>
                      <a:pt x="153" y="363"/>
                    </a:lnTo>
                    <a:lnTo>
                      <a:pt x="154" y="352"/>
                    </a:lnTo>
                    <a:lnTo>
                      <a:pt x="153" y="338"/>
                    </a:lnTo>
                    <a:lnTo>
                      <a:pt x="153" y="335"/>
                    </a:lnTo>
                    <a:lnTo>
                      <a:pt x="154" y="332"/>
                    </a:lnTo>
                    <a:lnTo>
                      <a:pt x="156" y="331"/>
                    </a:lnTo>
                    <a:lnTo>
                      <a:pt x="159" y="330"/>
                    </a:lnTo>
                    <a:lnTo>
                      <a:pt x="168" y="329"/>
                    </a:lnTo>
                    <a:lnTo>
                      <a:pt x="179" y="327"/>
                    </a:lnTo>
                    <a:lnTo>
                      <a:pt x="185" y="325"/>
                    </a:lnTo>
                    <a:lnTo>
                      <a:pt x="190" y="322"/>
                    </a:lnTo>
                    <a:lnTo>
                      <a:pt x="196" y="318"/>
                    </a:lnTo>
                    <a:lnTo>
                      <a:pt x="200" y="312"/>
                    </a:lnTo>
                    <a:lnTo>
                      <a:pt x="203" y="304"/>
                    </a:lnTo>
                    <a:lnTo>
                      <a:pt x="205" y="294"/>
                    </a:lnTo>
                    <a:lnTo>
                      <a:pt x="206" y="280"/>
                    </a:lnTo>
                    <a:lnTo>
                      <a:pt x="205" y="265"/>
                    </a:lnTo>
                    <a:lnTo>
                      <a:pt x="202" y="265"/>
                    </a:lnTo>
                    <a:lnTo>
                      <a:pt x="198" y="265"/>
                    </a:lnTo>
                    <a:lnTo>
                      <a:pt x="193" y="264"/>
                    </a:lnTo>
                    <a:lnTo>
                      <a:pt x="188" y="262"/>
                    </a:lnTo>
                    <a:lnTo>
                      <a:pt x="177" y="256"/>
                    </a:lnTo>
                    <a:lnTo>
                      <a:pt x="166" y="249"/>
                    </a:lnTo>
                    <a:lnTo>
                      <a:pt x="155" y="242"/>
                    </a:lnTo>
                    <a:lnTo>
                      <a:pt x="144" y="235"/>
                    </a:lnTo>
                    <a:lnTo>
                      <a:pt x="140" y="231"/>
                    </a:lnTo>
                    <a:lnTo>
                      <a:pt x="134" y="229"/>
                    </a:lnTo>
                    <a:lnTo>
                      <a:pt x="130" y="228"/>
                    </a:lnTo>
                    <a:lnTo>
                      <a:pt x="126" y="227"/>
                    </a:lnTo>
                    <a:lnTo>
                      <a:pt x="119" y="222"/>
                    </a:lnTo>
                    <a:lnTo>
                      <a:pt x="107" y="215"/>
                    </a:lnTo>
                    <a:lnTo>
                      <a:pt x="101" y="212"/>
                    </a:lnTo>
                    <a:lnTo>
                      <a:pt x="97" y="209"/>
                    </a:lnTo>
                    <a:lnTo>
                      <a:pt x="95" y="206"/>
                    </a:lnTo>
                    <a:lnTo>
                      <a:pt x="93" y="203"/>
                    </a:lnTo>
                    <a:lnTo>
                      <a:pt x="95" y="199"/>
                    </a:lnTo>
                    <a:lnTo>
                      <a:pt x="98" y="191"/>
                    </a:lnTo>
                    <a:lnTo>
                      <a:pt x="104" y="181"/>
                    </a:lnTo>
                    <a:lnTo>
                      <a:pt x="111" y="169"/>
                    </a:lnTo>
                    <a:lnTo>
                      <a:pt x="119" y="158"/>
                    </a:lnTo>
                    <a:lnTo>
                      <a:pt x="126" y="148"/>
                    </a:lnTo>
                    <a:lnTo>
                      <a:pt x="134" y="140"/>
                    </a:lnTo>
                    <a:lnTo>
                      <a:pt x="140" y="136"/>
                    </a:lnTo>
                    <a:lnTo>
                      <a:pt x="136" y="129"/>
                    </a:lnTo>
                    <a:lnTo>
                      <a:pt x="132" y="122"/>
                    </a:lnTo>
                    <a:lnTo>
                      <a:pt x="126" y="116"/>
                    </a:lnTo>
                    <a:lnTo>
                      <a:pt x="121" y="111"/>
                    </a:lnTo>
                    <a:lnTo>
                      <a:pt x="115" y="105"/>
                    </a:lnTo>
                    <a:lnTo>
                      <a:pt x="111" y="99"/>
                    </a:lnTo>
                    <a:lnTo>
                      <a:pt x="108" y="93"/>
                    </a:lnTo>
                    <a:lnTo>
                      <a:pt x="107" y="86"/>
                    </a:lnTo>
                    <a:lnTo>
                      <a:pt x="107" y="84"/>
                    </a:lnTo>
                    <a:lnTo>
                      <a:pt x="109" y="81"/>
                    </a:lnTo>
                    <a:lnTo>
                      <a:pt x="111" y="78"/>
                    </a:lnTo>
                    <a:lnTo>
                      <a:pt x="113" y="75"/>
                    </a:lnTo>
                    <a:lnTo>
                      <a:pt x="116" y="72"/>
                    </a:lnTo>
                    <a:lnTo>
                      <a:pt x="120" y="70"/>
                    </a:lnTo>
                    <a:lnTo>
                      <a:pt x="123" y="69"/>
                    </a:lnTo>
                    <a:lnTo>
                      <a:pt x="126" y="68"/>
                    </a:lnTo>
                    <a:lnTo>
                      <a:pt x="126" y="37"/>
                    </a:lnTo>
                    <a:lnTo>
                      <a:pt x="120" y="36"/>
                    </a:lnTo>
                    <a:lnTo>
                      <a:pt x="110" y="32"/>
                    </a:lnTo>
                    <a:lnTo>
                      <a:pt x="99" y="27"/>
                    </a:lnTo>
                    <a:lnTo>
                      <a:pt x="87" y="21"/>
                    </a:lnTo>
                    <a:lnTo>
                      <a:pt x="65" y="8"/>
                    </a:lnTo>
                    <a:lnTo>
                      <a:pt x="53" y="0"/>
                    </a:lnTo>
                    <a:lnTo>
                      <a:pt x="52" y="2"/>
                    </a:lnTo>
                    <a:lnTo>
                      <a:pt x="47" y="11"/>
                    </a:lnTo>
                    <a:lnTo>
                      <a:pt x="41" y="26"/>
                    </a:lnTo>
                    <a:lnTo>
                      <a:pt x="34" y="44"/>
                    </a:lnTo>
                    <a:lnTo>
                      <a:pt x="31" y="56"/>
                    </a:lnTo>
                    <a:lnTo>
                      <a:pt x="28" y="70"/>
                    </a:lnTo>
                    <a:lnTo>
                      <a:pt x="24" y="83"/>
                    </a:lnTo>
                    <a:lnTo>
                      <a:pt x="22" y="99"/>
                    </a:lnTo>
                    <a:lnTo>
                      <a:pt x="20" y="115"/>
                    </a:lnTo>
                    <a:lnTo>
                      <a:pt x="20" y="133"/>
                    </a:lnTo>
                    <a:lnTo>
                      <a:pt x="19" y="152"/>
                    </a:lnTo>
                    <a:lnTo>
                      <a:pt x="20" y="172"/>
                    </a:lnTo>
                    <a:lnTo>
                      <a:pt x="15" y="180"/>
                    </a:lnTo>
                    <a:lnTo>
                      <a:pt x="12" y="188"/>
                    </a:lnTo>
                    <a:lnTo>
                      <a:pt x="9" y="197"/>
                    </a:lnTo>
                    <a:lnTo>
                      <a:pt x="8" y="206"/>
                    </a:lnTo>
                    <a:lnTo>
                      <a:pt x="3" y="222"/>
                    </a:lnTo>
                    <a:lnTo>
                      <a:pt x="0" y="235"/>
                    </a:lnTo>
                    <a:lnTo>
                      <a:pt x="12" y="247"/>
                    </a:lnTo>
                    <a:lnTo>
                      <a:pt x="22" y="259"/>
                    </a:lnTo>
                    <a:lnTo>
                      <a:pt x="32" y="270"/>
                    </a:lnTo>
                    <a:lnTo>
                      <a:pt x="41" y="281"/>
                    </a:lnTo>
                    <a:lnTo>
                      <a:pt x="48" y="294"/>
                    </a:lnTo>
                    <a:lnTo>
                      <a:pt x="55" y="305"/>
                    </a:lnTo>
                    <a:lnTo>
                      <a:pt x="60" y="317"/>
                    </a:lnTo>
                    <a:lnTo>
                      <a:pt x="66" y="329"/>
                    </a:lnTo>
                    <a:lnTo>
                      <a:pt x="71" y="341"/>
                    </a:lnTo>
                    <a:lnTo>
                      <a:pt x="75" y="355"/>
                    </a:lnTo>
                    <a:lnTo>
                      <a:pt x="79" y="369"/>
                    </a:lnTo>
                    <a:lnTo>
                      <a:pt x="82" y="384"/>
                    </a:lnTo>
                    <a:lnTo>
                      <a:pt x="88" y="417"/>
                    </a:lnTo>
                    <a:lnTo>
                      <a:pt x="93" y="455"/>
                    </a:lnTo>
                  </a:path>
                </a:pathLst>
              </a:custGeom>
              <a:solidFill>
                <a:srgbClr val="A6A6A6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19" name="Freeform 240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2450941" y="2311672"/>
                <a:ext cx="487625" cy="384047"/>
              </a:xfrm>
              <a:custGeom>
                <a:avLst/>
                <a:gdLst/>
                <a:ahLst/>
                <a:cxnLst>
                  <a:cxn ang="0">
                    <a:pos x="326" y="110"/>
                  </a:cxn>
                  <a:cxn ang="0">
                    <a:pos x="326" y="259"/>
                  </a:cxn>
                  <a:cxn ang="0">
                    <a:pos x="315" y="264"/>
                  </a:cxn>
                  <a:cxn ang="0">
                    <a:pos x="291" y="271"/>
                  </a:cxn>
                  <a:cxn ang="0">
                    <a:pos x="246" y="283"/>
                  </a:cxn>
                  <a:cxn ang="0">
                    <a:pos x="253" y="302"/>
                  </a:cxn>
                  <a:cxn ang="0">
                    <a:pos x="265" y="326"/>
                  </a:cxn>
                  <a:cxn ang="0">
                    <a:pos x="269" y="353"/>
                  </a:cxn>
                  <a:cxn ang="0">
                    <a:pos x="272" y="382"/>
                  </a:cxn>
                  <a:cxn ang="0">
                    <a:pos x="52" y="394"/>
                  </a:cxn>
                  <a:cxn ang="0">
                    <a:pos x="22" y="406"/>
                  </a:cxn>
                  <a:cxn ang="0">
                    <a:pos x="5" y="403"/>
                  </a:cxn>
                  <a:cxn ang="0">
                    <a:pos x="1" y="398"/>
                  </a:cxn>
                  <a:cxn ang="0">
                    <a:pos x="1" y="385"/>
                  </a:cxn>
                  <a:cxn ang="0">
                    <a:pos x="4" y="371"/>
                  </a:cxn>
                  <a:cxn ang="0">
                    <a:pos x="11" y="354"/>
                  </a:cxn>
                  <a:cxn ang="0">
                    <a:pos x="20" y="341"/>
                  </a:cxn>
                  <a:cxn ang="0">
                    <a:pos x="30" y="334"/>
                  </a:cxn>
                  <a:cxn ang="0">
                    <a:pos x="38" y="326"/>
                  </a:cxn>
                  <a:cxn ang="0">
                    <a:pos x="44" y="317"/>
                  </a:cxn>
                  <a:cxn ang="0">
                    <a:pos x="49" y="292"/>
                  </a:cxn>
                  <a:cxn ang="0">
                    <a:pos x="56" y="265"/>
                  </a:cxn>
                  <a:cxn ang="0">
                    <a:pos x="62" y="257"/>
                  </a:cxn>
                  <a:cxn ang="0">
                    <a:pos x="74" y="246"/>
                  </a:cxn>
                  <a:cxn ang="0">
                    <a:pos x="92" y="238"/>
                  </a:cxn>
                  <a:cxn ang="0">
                    <a:pos x="107" y="231"/>
                  </a:cxn>
                  <a:cxn ang="0">
                    <a:pos x="122" y="218"/>
                  </a:cxn>
                  <a:cxn ang="0">
                    <a:pos x="136" y="195"/>
                  </a:cxn>
                  <a:cxn ang="0">
                    <a:pos x="150" y="156"/>
                  </a:cxn>
                  <a:cxn ang="0">
                    <a:pos x="162" y="117"/>
                  </a:cxn>
                  <a:cxn ang="0">
                    <a:pos x="172" y="94"/>
                  </a:cxn>
                  <a:cxn ang="0">
                    <a:pos x="186" y="73"/>
                  </a:cxn>
                  <a:cxn ang="0">
                    <a:pos x="201" y="62"/>
                  </a:cxn>
                  <a:cxn ang="0">
                    <a:pos x="213" y="57"/>
                  </a:cxn>
                  <a:cxn ang="0">
                    <a:pos x="219" y="44"/>
                  </a:cxn>
                  <a:cxn ang="0">
                    <a:pos x="223" y="28"/>
                  </a:cxn>
                  <a:cxn ang="0">
                    <a:pos x="228" y="16"/>
                  </a:cxn>
                  <a:cxn ang="0">
                    <a:pos x="239" y="8"/>
                  </a:cxn>
                  <a:cxn ang="0">
                    <a:pos x="511" y="0"/>
                  </a:cxn>
                  <a:cxn ang="0">
                    <a:pos x="515" y="46"/>
                  </a:cxn>
                  <a:cxn ang="0">
                    <a:pos x="518" y="110"/>
                  </a:cxn>
                </a:cxnLst>
                <a:rect l="0" t="0" r="r" b="b"/>
                <a:pathLst>
                  <a:path w="518" h="406">
                    <a:moveTo>
                      <a:pt x="518" y="110"/>
                    </a:moveTo>
                    <a:lnTo>
                      <a:pt x="326" y="110"/>
                    </a:lnTo>
                    <a:lnTo>
                      <a:pt x="312" y="104"/>
                    </a:lnTo>
                    <a:lnTo>
                      <a:pt x="326" y="259"/>
                    </a:lnTo>
                    <a:lnTo>
                      <a:pt x="323" y="261"/>
                    </a:lnTo>
                    <a:lnTo>
                      <a:pt x="315" y="264"/>
                    </a:lnTo>
                    <a:lnTo>
                      <a:pt x="304" y="267"/>
                    </a:lnTo>
                    <a:lnTo>
                      <a:pt x="291" y="271"/>
                    </a:lnTo>
                    <a:lnTo>
                      <a:pt x="263" y="277"/>
                    </a:lnTo>
                    <a:lnTo>
                      <a:pt x="246" y="283"/>
                    </a:lnTo>
                    <a:lnTo>
                      <a:pt x="250" y="292"/>
                    </a:lnTo>
                    <a:lnTo>
                      <a:pt x="253" y="302"/>
                    </a:lnTo>
                    <a:lnTo>
                      <a:pt x="258" y="314"/>
                    </a:lnTo>
                    <a:lnTo>
                      <a:pt x="265" y="326"/>
                    </a:lnTo>
                    <a:lnTo>
                      <a:pt x="267" y="335"/>
                    </a:lnTo>
                    <a:lnTo>
                      <a:pt x="269" y="353"/>
                    </a:lnTo>
                    <a:lnTo>
                      <a:pt x="271" y="373"/>
                    </a:lnTo>
                    <a:lnTo>
                      <a:pt x="272" y="382"/>
                    </a:lnTo>
                    <a:lnTo>
                      <a:pt x="67" y="382"/>
                    </a:lnTo>
                    <a:lnTo>
                      <a:pt x="52" y="394"/>
                    </a:lnTo>
                    <a:lnTo>
                      <a:pt x="39" y="406"/>
                    </a:lnTo>
                    <a:lnTo>
                      <a:pt x="22" y="406"/>
                    </a:lnTo>
                    <a:lnTo>
                      <a:pt x="10" y="404"/>
                    </a:lnTo>
                    <a:lnTo>
                      <a:pt x="5" y="403"/>
                    </a:lnTo>
                    <a:lnTo>
                      <a:pt x="2" y="401"/>
                    </a:lnTo>
                    <a:lnTo>
                      <a:pt x="1" y="398"/>
                    </a:lnTo>
                    <a:lnTo>
                      <a:pt x="0" y="394"/>
                    </a:lnTo>
                    <a:lnTo>
                      <a:pt x="1" y="385"/>
                    </a:lnTo>
                    <a:lnTo>
                      <a:pt x="2" y="378"/>
                    </a:lnTo>
                    <a:lnTo>
                      <a:pt x="4" y="371"/>
                    </a:lnTo>
                    <a:lnTo>
                      <a:pt x="6" y="365"/>
                    </a:lnTo>
                    <a:lnTo>
                      <a:pt x="11" y="354"/>
                    </a:lnTo>
                    <a:lnTo>
                      <a:pt x="13" y="344"/>
                    </a:lnTo>
                    <a:lnTo>
                      <a:pt x="20" y="341"/>
                    </a:lnTo>
                    <a:lnTo>
                      <a:pt x="26" y="337"/>
                    </a:lnTo>
                    <a:lnTo>
                      <a:pt x="30" y="334"/>
                    </a:lnTo>
                    <a:lnTo>
                      <a:pt x="35" y="330"/>
                    </a:lnTo>
                    <a:lnTo>
                      <a:pt x="38" y="326"/>
                    </a:lnTo>
                    <a:lnTo>
                      <a:pt x="41" y="321"/>
                    </a:lnTo>
                    <a:lnTo>
                      <a:pt x="44" y="317"/>
                    </a:lnTo>
                    <a:lnTo>
                      <a:pt x="46" y="313"/>
                    </a:lnTo>
                    <a:lnTo>
                      <a:pt x="49" y="292"/>
                    </a:lnTo>
                    <a:lnTo>
                      <a:pt x="52" y="271"/>
                    </a:lnTo>
                    <a:lnTo>
                      <a:pt x="56" y="265"/>
                    </a:lnTo>
                    <a:lnTo>
                      <a:pt x="59" y="261"/>
                    </a:lnTo>
                    <a:lnTo>
                      <a:pt x="62" y="257"/>
                    </a:lnTo>
                    <a:lnTo>
                      <a:pt x="66" y="253"/>
                    </a:lnTo>
                    <a:lnTo>
                      <a:pt x="74" y="246"/>
                    </a:lnTo>
                    <a:lnTo>
                      <a:pt x="83" y="242"/>
                    </a:lnTo>
                    <a:lnTo>
                      <a:pt x="92" y="238"/>
                    </a:lnTo>
                    <a:lnTo>
                      <a:pt x="100" y="235"/>
                    </a:lnTo>
                    <a:lnTo>
                      <a:pt x="107" y="231"/>
                    </a:lnTo>
                    <a:lnTo>
                      <a:pt x="113" y="227"/>
                    </a:lnTo>
                    <a:lnTo>
                      <a:pt x="122" y="218"/>
                    </a:lnTo>
                    <a:lnTo>
                      <a:pt x="129" y="207"/>
                    </a:lnTo>
                    <a:lnTo>
                      <a:pt x="136" y="195"/>
                    </a:lnTo>
                    <a:lnTo>
                      <a:pt x="141" y="182"/>
                    </a:lnTo>
                    <a:lnTo>
                      <a:pt x="150" y="156"/>
                    </a:lnTo>
                    <a:lnTo>
                      <a:pt x="158" y="129"/>
                    </a:lnTo>
                    <a:lnTo>
                      <a:pt x="162" y="117"/>
                    </a:lnTo>
                    <a:lnTo>
                      <a:pt x="168" y="105"/>
                    </a:lnTo>
                    <a:lnTo>
                      <a:pt x="172" y="94"/>
                    </a:lnTo>
                    <a:lnTo>
                      <a:pt x="179" y="83"/>
                    </a:lnTo>
                    <a:lnTo>
                      <a:pt x="186" y="73"/>
                    </a:lnTo>
                    <a:lnTo>
                      <a:pt x="195" y="66"/>
                    </a:lnTo>
                    <a:lnTo>
                      <a:pt x="201" y="62"/>
                    </a:lnTo>
                    <a:lnTo>
                      <a:pt x="206" y="59"/>
                    </a:lnTo>
                    <a:lnTo>
                      <a:pt x="213" y="57"/>
                    </a:lnTo>
                    <a:lnTo>
                      <a:pt x="219" y="55"/>
                    </a:lnTo>
                    <a:lnTo>
                      <a:pt x="219" y="44"/>
                    </a:lnTo>
                    <a:lnTo>
                      <a:pt x="220" y="36"/>
                    </a:lnTo>
                    <a:lnTo>
                      <a:pt x="223" y="28"/>
                    </a:lnTo>
                    <a:lnTo>
                      <a:pt x="225" y="21"/>
                    </a:lnTo>
                    <a:lnTo>
                      <a:pt x="228" y="16"/>
                    </a:lnTo>
                    <a:lnTo>
                      <a:pt x="233" y="11"/>
                    </a:lnTo>
                    <a:lnTo>
                      <a:pt x="239" y="8"/>
                    </a:lnTo>
                    <a:lnTo>
                      <a:pt x="246" y="6"/>
                    </a:lnTo>
                    <a:lnTo>
                      <a:pt x="511" y="0"/>
                    </a:lnTo>
                    <a:lnTo>
                      <a:pt x="513" y="13"/>
                    </a:lnTo>
                    <a:lnTo>
                      <a:pt x="515" y="46"/>
                    </a:lnTo>
                    <a:lnTo>
                      <a:pt x="517" y="83"/>
                    </a:lnTo>
                    <a:lnTo>
                      <a:pt x="518" y="110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20" name="Freeform 247"/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114208" y="3257674"/>
                <a:ext cx="684680" cy="434878"/>
              </a:xfrm>
              <a:custGeom>
                <a:avLst/>
                <a:gdLst/>
                <a:ahLst/>
                <a:cxnLst>
                  <a:cxn ang="0">
                    <a:pos x="98" y="452"/>
                  </a:cxn>
                  <a:cxn ang="0">
                    <a:pos x="54" y="440"/>
                  </a:cxn>
                  <a:cxn ang="0">
                    <a:pos x="21" y="429"/>
                  </a:cxn>
                  <a:cxn ang="0">
                    <a:pos x="5" y="413"/>
                  </a:cxn>
                  <a:cxn ang="0">
                    <a:pos x="0" y="363"/>
                  </a:cxn>
                  <a:cxn ang="0">
                    <a:pos x="5" y="309"/>
                  </a:cxn>
                  <a:cxn ang="0">
                    <a:pos x="23" y="273"/>
                  </a:cxn>
                  <a:cxn ang="0">
                    <a:pos x="56" y="228"/>
                  </a:cxn>
                  <a:cxn ang="0">
                    <a:pos x="121" y="204"/>
                  </a:cxn>
                  <a:cxn ang="0">
                    <a:pos x="166" y="188"/>
                  </a:cxn>
                  <a:cxn ang="0">
                    <a:pos x="235" y="173"/>
                  </a:cxn>
                  <a:cxn ang="0">
                    <a:pos x="262" y="153"/>
                  </a:cxn>
                  <a:cxn ang="0">
                    <a:pos x="267" y="136"/>
                  </a:cxn>
                  <a:cxn ang="0">
                    <a:pos x="292" y="120"/>
                  </a:cxn>
                  <a:cxn ang="0">
                    <a:pos x="332" y="115"/>
                  </a:cxn>
                  <a:cxn ang="0">
                    <a:pos x="359" y="101"/>
                  </a:cxn>
                  <a:cxn ang="0">
                    <a:pos x="389" y="67"/>
                  </a:cxn>
                  <a:cxn ang="0">
                    <a:pos x="425" y="22"/>
                  </a:cxn>
                  <a:cxn ang="0">
                    <a:pos x="450" y="6"/>
                  </a:cxn>
                  <a:cxn ang="0">
                    <a:pos x="486" y="0"/>
                  </a:cxn>
                  <a:cxn ang="0">
                    <a:pos x="507" y="29"/>
                  </a:cxn>
                  <a:cxn ang="0">
                    <a:pos x="532" y="53"/>
                  </a:cxn>
                  <a:cxn ang="0">
                    <a:pos x="553" y="107"/>
                  </a:cxn>
                  <a:cxn ang="0">
                    <a:pos x="579" y="159"/>
                  </a:cxn>
                  <a:cxn ang="0">
                    <a:pos x="613" y="172"/>
                  </a:cxn>
                  <a:cxn ang="0">
                    <a:pos x="628" y="193"/>
                  </a:cxn>
                  <a:cxn ang="0">
                    <a:pos x="650" y="233"/>
                  </a:cxn>
                  <a:cxn ang="0">
                    <a:pos x="702" y="279"/>
                  </a:cxn>
                  <a:cxn ang="0">
                    <a:pos x="741" y="315"/>
                  </a:cxn>
                  <a:cxn ang="0">
                    <a:pos x="711" y="345"/>
                  </a:cxn>
                  <a:cxn ang="0">
                    <a:pos x="691" y="342"/>
                  </a:cxn>
                  <a:cxn ang="0">
                    <a:pos x="679" y="321"/>
                  </a:cxn>
                  <a:cxn ang="0">
                    <a:pos x="651" y="330"/>
                  </a:cxn>
                  <a:cxn ang="0">
                    <a:pos x="639" y="352"/>
                  </a:cxn>
                  <a:cxn ang="0">
                    <a:pos x="604" y="356"/>
                  </a:cxn>
                  <a:cxn ang="0">
                    <a:pos x="553" y="356"/>
                  </a:cxn>
                  <a:cxn ang="0">
                    <a:pos x="522" y="365"/>
                  </a:cxn>
                  <a:cxn ang="0">
                    <a:pos x="496" y="387"/>
                  </a:cxn>
                  <a:cxn ang="0">
                    <a:pos x="486" y="394"/>
                  </a:cxn>
                  <a:cxn ang="0">
                    <a:pos x="426" y="400"/>
                  </a:cxn>
                  <a:cxn ang="0">
                    <a:pos x="396" y="392"/>
                  </a:cxn>
                  <a:cxn ang="0">
                    <a:pos x="349" y="354"/>
                  </a:cxn>
                  <a:cxn ang="0">
                    <a:pos x="319" y="345"/>
                  </a:cxn>
                  <a:cxn ang="0">
                    <a:pos x="291" y="355"/>
                  </a:cxn>
                  <a:cxn ang="0">
                    <a:pos x="266" y="377"/>
                  </a:cxn>
                  <a:cxn ang="0">
                    <a:pos x="227" y="437"/>
                  </a:cxn>
                  <a:cxn ang="0">
                    <a:pos x="150" y="439"/>
                  </a:cxn>
                  <a:cxn ang="0">
                    <a:pos x="135" y="448"/>
                  </a:cxn>
                </a:cxnLst>
                <a:rect l="0" t="0" r="r" b="b"/>
                <a:pathLst>
                  <a:path w="746" h="469">
                    <a:moveTo>
                      <a:pt x="114" y="469"/>
                    </a:moveTo>
                    <a:lnTo>
                      <a:pt x="109" y="463"/>
                    </a:lnTo>
                    <a:lnTo>
                      <a:pt x="103" y="456"/>
                    </a:lnTo>
                    <a:lnTo>
                      <a:pt x="98" y="452"/>
                    </a:lnTo>
                    <a:lnTo>
                      <a:pt x="92" y="449"/>
                    </a:lnTo>
                    <a:lnTo>
                      <a:pt x="79" y="445"/>
                    </a:lnTo>
                    <a:lnTo>
                      <a:pt x="67" y="442"/>
                    </a:lnTo>
                    <a:lnTo>
                      <a:pt x="54" y="440"/>
                    </a:lnTo>
                    <a:lnTo>
                      <a:pt x="39" y="437"/>
                    </a:lnTo>
                    <a:lnTo>
                      <a:pt x="33" y="435"/>
                    </a:lnTo>
                    <a:lnTo>
                      <a:pt x="26" y="433"/>
                    </a:lnTo>
                    <a:lnTo>
                      <a:pt x="21" y="429"/>
                    </a:lnTo>
                    <a:lnTo>
                      <a:pt x="14" y="425"/>
                    </a:lnTo>
                    <a:lnTo>
                      <a:pt x="11" y="422"/>
                    </a:lnTo>
                    <a:lnTo>
                      <a:pt x="8" y="418"/>
                    </a:lnTo>
                    <a:lnTo>
                      <a:pt x="5" y="413"/>
                    </a:lnTo>
                    <a:lnTo>
                      <a:pt x="3" y="408"/>
                    </a:lnTo>
                    <a:lnTo>
                      <a:pt x="1" y="396"/>
                    </a:lnTo>
                    <a:lnTo>
                      <a:pt x="0" y="385"/>
                    </a:lnTo>
                    <a:lnTo>
                      <a:pt x="0" y="363"/>
                    </a:lnTo>
                    <a:lnTo>
                      <a:pt x="1" y="345"/>
                    </a:lnTo>
                    <a:lnTo>
                      <a:pt x="1" y="332"/>
                    </a:lnTo>
                    <a:lnTo>
                      <a:pt x="3" y="320"/>
                    </a:lnTo>
                    <a:lnTo>
                      <a:pt x="5" y="309"/>
                    </a:lnTo>
                    <a:lnTo>
                      <a:pt x="10" y="299"/>
                    </a:lnTo>
                    <a:lnTo>
                      <a:pt x="13" y="289"/>
                    </a:lnTo>
                    <a:lnTo>
                      <a:pt x="19" y="281"/>
                    </a:lnTo>
                    <a:lnTo>
                      <a:pt x="23" y="273"/>
                    </a:lnTo>
                    <a:lnTo>
                      <a:pt x="30" y="265"/>
                    </a:lnTo>
                    <a:lnTo>
                      <a:pt x="41" y="251"/>
                    </a:lnTo>
                    <a:lnTo>
                      <a:pt x="52" y="236"/>
                    </a:lnTo>
                    <a:lnTo>
                      <a:pt x="56" y="228"/>
                    </a:lnTo>
                    <a:lnTo>
                      <a:pt x="60" y="220"/>
                    </a:lnTo>
                    <a:lnTo>
                      <a:pt x="65" y="212"/>
                    </a:lnTo>
                    <a:lnTo>
                      <a:pt x="67" y="204"/>
                    </a:lnTo>
                    <a:lnTo>
                      <a:pt x="121" y="204"/>
                    </a:lnTo>
                    <a:lnTo>
                      <a:pt x="131" y="198"/>
                    </a:lnTo>
                    <a:lnTo>
                      <a:pt x="142" y="194"/>
                    </a:lnTo>
                    <a:lnTo>
                      <a:pt x="154" y="191"/>
                    </a:lnTo>
                    <a:lnTo>
                      <a:pt x="166" y="188"/>
                    </a:lnTo>
                    <a:lnTo>
                      <a:pt x="190" y="184"/>
                    </a:lnTo>
                    <a:lnTo>
                      <a:pt x="213" y="178"/>
                    </a:lnTo>
                    <a:lnTo>
                      <a:pt x="224" y="176"/>
                    </a:lnTo>
                    <a:lnTo>
                      <a:pt x="235" y="173"/>
                    </a:lnTo>
                    <a:lnTo>
                      <a:pt x="244" y="170"/>
                    </a:lnTo>
                    <a:lnTo>
                      <a:pt x="251" y="165"/>
                    </a:lnTo>
                    <a:lnTo>
                      <a:pt x="258" y="160"/>
                    </a:lnTo>
                    <a:lnTo>
                      <a:pt x="262" y="153"/>
                    </a:lnTo>
                    <a:lnTo>
                      <a:pt x="265" y="150"/>
                    </a:lnTo>
                    <a:lnTo>
                      <a:pt x="266" y="145"/>
                    </a:lnTo>
                    <a:lnTo>
                      <a:pt x="267" y="141"/>
                    </a:lnTo>
                    <a:lnTo>
                      <a:pt x="267" y="136"/>
                    </a:lnTo>
                    <a:lnTo>
                      <a:pt x="267" y="126"/>
                    </a:lnTo>
                    <a:lnTo>
                      <a:pt x="267" y="117"/>
                    </a:lnTo>
                    <a:lnTo>
                      <a:pt x="280" y="119"/>
                    </a:lnTo>
                    <a:lnTo>
                      <a:pt x="292" y="120"/>
                    </a:lnTo>
                    <a:lnTo>
                      <a:pt x="303" y="120"/>
                    </a:lnTo>
                    <a:lnTo>
                      <a:pt x="313" y="119"/>
                    </a:lnTo>
                    <a:lnTo>
                      <a:pt x="323" y="117"/>
                    </a:lnTo>
                    <a:lnTo>
                      <a:pt x="332" y="115"/>
                    </a:lnTo>
                    <a:lnTo>
                      <a:pt x="339" y="112"/>
                    </a:lnTo>
                    <a:lnTo>
                      <a:pt x="347" y="109"/>
                    </a:lnTo>
                    <a:lnTo>
                      <a:pt x="354" y="105"/>
                    </a:lnTo>
                    <a:lnTo>
                      <a:pt x="359" y="101"/>
                    </a:lnTo>
                    <a:lnTo>
                      <a:pt x="366" y="96"/>
                    </a:lnTo>
                    <a:lnTo>
                      <a:pt x="370" y="91"/>
                    </a:lnTo>
                    <a:lnTo>
                      <a:pt x="380" y="80"/>
                    </a:lnTo>
                    <a:lnTo>
                      <a:pt x="389" y="67"/>
                    </a:lnTo>
                    <a:lnTo>
                      <a:pt x="397" y="56"/>
                    </a:lnTo>
                    <a:lnTo>
                      <a:pt x="405" y="44"/>
                    </a:lnTo>
                    <a:lnTo>
                      <a:pt x="414" y="32"/>
                    </a:lnTo>
                    <a:lnTo>
                      <a:pt x="425" y="22"/>
                    </a:lnTo>
                    <a:lnTo>
                      <a:pt x="430" y="18"/>
                    </a:lnTo>
                    <a:lnTo>
                      <a:pt x="436" y="13"/>
                    </a:lnTo>
                    <a:lnTo>
                      <a:pt x="442" y="9"/>
                    </a:lnTo>
                    <a:lnTo>
                      <a:pt x="450" y="6"/>
                    </a:lnTo>
                    <a:lnTo>
                      <a:pt x="458" y="3"/>
                    </a:lnTo>
                    <a:lnTo>
                      <a:pt x="467" y="1"/>
                    </a:lnTo>
                    <a:lnTo>
                      <a:pt x="475" y="0"/>
                    </a:lnTo>
                    <a:lnTo>
                      <a:pt x="486" y="0"/>
                    </a:lnTo>
                    <a:lnTo>
                      <a:pt x="486" y="6"/>
                    </a:lnTo>
                    <a:lnTo>
                      <a:pt x="492" y="14"/>
                    </a:lnTo>
                    <a:lnTo>
                      <a:pt x="498" y="22"/>
                    </a:lnTo>
                    <a:lnTo>
                      <a:pt x="507" y="29"/>
                    </a:lnTo>
                    <a:lnTo>
                      <a:pt x="515" y="35"/>
                    </a:lnTo>
                    <a:lnTo>
                      <a:pt x="523" y="41"/>
                    </a:lnTo>
                    <a:lnTo>
                      <a:pt x="530" y="49"/>
                    </a:lnTo>
                    <a:lnTo>
                      <a:pt x="532" y="53"/>
                    </a:lnTo>
                    <a:lnTo>
                      <a:pt x="536" y="57"/>
                    </a:lnTo>
                    <a:lnTo>
                      <a:pt x="538" y="62"/>
                    </a:lnTo>
                    <a:lnTo>
                      <a:pt x="539" y="67"/>
                    </a:lnTo>
                    <a:lnTo>
                      <a:pt x="553" y="107"/>
                    </a:lnTo>
                    <a:lnTo>
                      <a:pt x="564" y="141"/>
                    </a:lnTo>
                    <a:lnTo>
                      <a:pt x="569" y="148"/>
                    </a:lnTo>
                    <a:lnTo>
                      <a:pt x="573" y="154"/>
                    </a:lnTo>
                    <a:lnTo>
                      <a:pt x="579" y="159"/>
                    </a:lnTo>
                    <a:lnTo>
                      <a:pt x="585" y="164"/>
                    </a:lnTo>
                    <a:lnTo>
                      <a:pt x="593" y="168"/>
                    </a:lnTo>
                    <a:lnTo>
                      <a:pt x="602" y="170"/>
                    </a:lnTo>
                    <a:lnTo>
                      <a:pt x="613" y="172"/>
                    </a:lnTo>
                    <a:lnTo>
                      <a:pt x="626" y="172"/>
                    </a:lnTo>
                    <a:lnTo>
                      <a:pt x="626" y="179"/>
                    </a:lnTo>
                    <a:lnTo>
                      <a:pt x="627" y="187"/>
                    </a:lnTo>
                    <a:lnTo>
                      <a:pt x="628" y="193"/>
                    </a:lnTo>
                    <a:lnTo>
                      <a:pt x="630" y="199"/>
                    </a:lnTo>
                    <a:lnTo>
                      <a:pt x="636" y="211"/>
                    </a:lnTo>
                    <a:lnTo>
                      <a:pt x="642" y="222"/>
                    </a:lnTo>
                    <a:lnTo>
                      <a:pt x="650" y="233"/>
                    </a:lnTo>
                    <a:lnTo>
                      <a:pt x="660" y="244"/>
                    </a:lnTo>
                    <a:lnTo>
                      <a:pt x="670" y="254"/>
                    </a:lnTo>
                    <a:lnTo>
                      <a:pt x="681" y="263"/>
                    </a:lnTo>
                    <a:lnTo>
                      <a:pt x="702" y="279"/>
                    </a:lnTo>
                    <a:lnTo>
                      <a:pt x="720" y="294"/>
                    </a:lnTo>
                    <a:lnTo>
                      <a:pt x="729" y="302"/>
                    </a:lnTo>
                    <a:lnTo>
                      <a:pt x="736" y="309"/>
                    </a:lnTo>
                    <a:lnTo>
                      <a:pt x="741" y="315"/>
                    </a:lnTo>
                    <a:lnTo>
                      <a:pt x="746" y="321"/>
                    </a:lnTo>
                    <a:lnTo>
                      <a:pt x="738" y="345"/>
                    </a:lnTo>
                    <a:lnTo>
                      <a:pt x="728" y="345"/>
                    </a:lnTo>
                    <a:lnTo>
                      <a:pt x="711" y="345"/>
                    </a:lnTo>
                    <a:lnTo>
                      <a:pt x="706" y="345"/>
                    </a:lnTo>
                    <a:lnTo>
                      <a:pt x="700" y="344"/>
                    </a:lnTo>
                    <a:lnTo>
                      <a:pt x="695" y="343"/>
                    </a:lnTo>
                    <a:lnTo>
                      <a:pt x="691" y="342"/>
                    </a:lnTo>
                    <a:lnTo>
                      <a:pt x="685" y="339"/>
                    </a:lnTo>
                    <a:lnTo>
                      <a:pt x="682" y="335"/>
                    </a:lnTo>
                    <a:lnTo>
                      <a:pt x="680" y="329"/>
                    </a:lnTo>
                    <a:lnTo>
                      <a:pt x="679" y="321"/>
                    </a:lnTo>
                    <a:lnTo>
                      <a:pt x="666" y="321"/>
                    </a:lnTo>
                    <a:lnTo>
                      <a:pt x="659" y="321"/>
                    </a:lnTo>
                    <a:lnTo>
                      <a:pt x="654" y="325"/>
                    </a:lnTo>
                    <a:lnTo>
                      <a:pt x="651" y="330"/>
                    </a:lnTo>
                    <a:lnTo>
                      <a:pt x="648" y="334"/>
                    </a:lnTo>
                    <a:lnTo>
                      <a:pt x="647" y="338"/>
                    </a:lnTo>
                    <a:lnTo>
                      <a:pt x="642" y="345"/>
                    </a:lnTo>
                    <a:lnTo>
                      <a:pt x="639" y="352"/>
                    </a:lnTo>
                    <a:lnTo>
                      <a:pt x="630" y="354"/>
                    </a:lnTo>
                    <a:lnTo>
                      <a:pt x="621" y="355"/>
                    </a:lnTo>
                    <a:lnTo>
                      <a:pt x="613" y="355"/>
                    </a:lnTo>
                    <a:lnTo>
                      <a:pt x="604" y="356"/>
                    </a:lnTo>
                    <a:lnTo>
                      <a:pt x="586" y="355"/>
                    </a:lnTo>
                    <a:lnTo>
                      <a:pt x="570" y="355"/>
                    </a:lnTo>
                    <a:lnTo>
                      <a:pt x="561" y="355"/>
                    </a:lnTo>
                    <a:lnTo>
                      <a:pt x="553" y="356"/>
                    </a:lnTo>
                    <a:lnTo>
                      <a:pt x="545" y="357"/>
                    </a:lnTo>
                    <a:lnTo>
                      <a:pt x="537" y="359"/>
                    </a:lnTo>
                    <a:lnTo>
                      <a:pt x="529" y="361"/>
                    </a:lnTo>
                    <a:lnTo>
                      <a:pt x="522" y="365"/>
                    </a:lnTo>
                    <a:lnTo>
                      <a:pt x="514" y="370"/>
                    </a:lnTo>
                    <a:lnTo>
                      <a:pt x="506" y="376"/>
                    </a:lnTo>
                    <a:lnTo>
                      <a:pt x="501" y="381"/>
                    </a:lnTo>
                    <a:lnTo>
                      <a:pt x="496" y="387"/>
                    </a:lnTo>
                    <a:lnTo>
                      <a:pt x="493" y="390"/>
                    </a:lnTo>
                    <a:lnTo>
                      <a:pt x="491" y="392"/>
                    </a:lnTo>
                    <a:lnTo>
                      <a:pt x="489" y="394"/>
                    </a:lnTo>
                    <a:lnTo>
                      <a:pt x="486" y="394"/>
                    </a:lnTo>
                    <a:lnTo>
                      <a:pt x="466" y="395"/>
                    </a:lnTo>
                    <a:lnTo>
                      <a:pt x="451" y="397"/>
                    </a:lnTo>
                    <a:lnTo>
                      <a:pt x="439" y="399"/>
                    </a:lnTo>
                    <a:lnTo>
                      <a:pt x="426" y="400"/>
                    </a:lnTo>
                    <a:lnTo>
                      <a:pt x="417" y="400"/>
                    </a:lnTo>
                    <a:lnTo>
                      <a:pt x="410" y="398"/>
                    </a:lnTo>
                    <a:lnTo>
                      <a:pt x="403" y="395"/>
                    </a:lnTo>
                    <a:lnTo>
                      <a:pt x="396" y="392"/>
                    </a:lnTo>
                    <a:lnTo>
                      <a:pt x="384" y="383"/>
                    </a:lnTo>
                    <a:lnTo>
                      <a:pt x="373" y="373"/>
                    </a:lnTo>
                    <a:lnTo>
                      <a:pt x="361" y="363"/>
                    </a:lnTo>
                    <a:lnTo>
                      <a:pt x="349" y="354"/>
                    </a:lnTo>
                    <a:lnTo>
                      <a:pt x="343" y="351"/>
                    </a:lnTo>
                    <a:lnTo>
                      <a:pt x="336" y="347"/>
                    </a:lnTo>
                    <a:lnTo>
                      <a:pt x="328" y="345"/>
                    </a:lnTo>
                    <a:lnTo>
                      <a:pt x="319" y="345"/>
                    </a:lnTo>
                    <a:lnTo>
                      <a:pt x="313" y="345"/>
                    </a:lnTo>
                    <a:lnTo>
                      <a:pt x="305" y="347"/>
                    </a:lnTo>
                    <a:lnTo>
                      <a:pt x="299" y="351"/>
                    </a:lnTo>
                    <a:lnTo>
                      <a:pt x="291" y="355"/>
                    </a:lnTo>
                    <a:lnTo>
                      <a:pt x="284" y="360"/>
                    </a:lnTo>
                    <a:lnTo>
                      <a:pt x="278" y="365"/>
                    </a:lnTo>
                    <a:lnTo>
                      <a:pt x="272" y="371"/>
                    </a:lnTo>
                    <a:lnTo>
                      <a:pt x="266" y="377"/>
                    </a:lnTo>
                    <a:lnTo>
                      <a:pt x="255" y="392"/>
                    </a:lnTo>
                    <a:lnTo>
                      <a:pt x="244" y="408"/>
                    </a:lnTo>
                    <a:lnTo>
                      <a:pt x="235" y="423"/>
                    </a:lnTo>
                    <a:lnTo>
                      <a:pt x="227" y="437"/>
                    </a:lnTo>
                    <a:lnTo>
                      <a:pt x="197" y="437"/>
                    </a:lnTo>
                    <a:lnTo>
                      <a:pt x="176" y="437"/>
                    </a:lnTo>
                    <a:lnTo>
                      <a:pt x="160" y="437"/>
                    </a:lnTo>
                    <a:lnTo>
                      <a:pt x="150" y="439"/>
                    </a:lnTo>
                    <a:lnTo>
                      <a:pt x="146" y="440"/>
                    </a:lnTo>
                    <a:lnTo>
                      <a:pt x="143" y="442"/>
                    </a:lnTo>
                    <a:lnTo>
                      <a:pt x="139" y="445"/>
                    </a:lnTo>
                    <a:lnTo>
                      <a:pt x="135" y="448"/>
                    </a:lnTo>
                    <a:lnTo>
                      <a:pt x="126" y="456"/>
                    </a:lnTo>
                    <a:lnTo>
                      <a:pt x="114" y="469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21" name="Freeform 248"/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3980610" y="3557002"/>
                <a:ext cx="1052072" cy="982711"/>
              </a:xfrm>
              <a:custGeom>
                <a:avLst/>
                <a:gdLst/>
                <a:ahLst/>
                <a:cxnLst>
                  <a:cxn ang="0">
                    <a:pos x="902" y="57"/>
                  </a:cxn>
                  <a:cxn ang="0">
                    <a:pos x="993" y="66"/>
                  </a:cxn>
                  <a:cxn ang="0">
                    <a:pos x="1080" y="81"/>
                  </a:cxn>
                  <a:cxn ang="0">
                    <a:pos x="1126" y="175"/>
                  </a:cxn>
                  <a:cxn ang="0">
                    <a:pos x="1133" y="211"/>
                  </a:cxn>
                  <a:cxn ang="0">
                    <a:pos x="1058" y="272"/>
                  </a:cxn>
                  <a:cxn ang="0">
                    <a:pos x="1045" y="360"/>
                  </a:cxn>
                  <a:cxn ang="0">
                    <a:pos x="1003" y="440"/>
                  </a:cxn>
                  <a:cxn ang="0">
                    <a:pos x="990" y="476"/>
                  </a:cxn>
                  <a:cxn ang="0">
                    <a:pos x="1019" y="576"/>
                  </a:cxn>
                  <a:cxn ang="0">
                    <a:pos x="1026" y="664"/>
                  </a:cxn>
                  <a:cxn ang="0">
                    <a:pos x="1047" y="731"/>
                  </a:cxn>
                  <a:cxn ang="0">
                    <a:pos x="1079" y="765"/>
                  </a:cxn>
                  <a:cxn ang="0">
                    <a:pos x="1092" y="825"/>
                  </a:cxn>
                  <a:cxn ang="0">
                    <a:pos x="1040" y="844"/>
                  </a:cxn>
                  <a:cxn ang="0">
                    <a:pos x="997" y="856"/>
                  </a:cxn>
                  <a:cxn ang="0">
                    <a:pos x="960" y="992"/>
                  </a:cxn>
                  <a:cxn ang="0">
                    <a:pos x="930" y="1026"/>
                  </a:cxn>
                  <a:cxn ang="0">
                    <a:pos x="902" y="1031"/>
                  </a:cxn>
                  <a:cxn ang="0">
                    <a:pos x="840" y="1053"/>
                  </a:cxn>
                  <a:cxn ang="0">
                    <a:pos x="782" y="1037"/>
                  </a:cxn>
                  <a:cxn ang="0">
                    <a:pos x="743" y="1014"/>
                  </a:cxn>
                  <a:cxn ang="0">
                    <a:pos x="707" y="997"/>
                  </a:cxn>
                  <a:cxn ang="0">
                    <a:pos x="674" y="986"/>
                  </a:cxn>
                  <a:cxn ang="0">
                    <a:pos x="608" y="987"/>
                  </a:cxn>
                  <a:cxn ang="0">
                    <a:pos x="594" y="942"/>
                  </a:cxn>
                  <a:cxn ang="0">
                    <a:pos x="575" y="884"/>
                  </a:cxn>
                  <a:cxn ang="0">
                    <a:pos x="590" y="846"/>
                  </a:cxn>
                  <a:cxn ang="0">
                    <a:pos x="590" y="779"/>
                  </a:cxn>
                  <a:cxn ang="0">
                    <a:pos x="454" y="755"/>
                  </a:cxn>
                  <a:cxn ang="0">
                    <a:pos x="443" y="785"/>
                  </a:cxn>
                  <a:cxn ang="0">
                    <a:pos x="396" y="817"/>
                  </a:cxn>
                  <a:cxn ang="0">
                    <a:pos x="337" y="797"/>
                  </a:cxn>
                  <a:cxn ang="0">
                    <a:pos x="297" y="708"/>
                  </a:cxn>
                  <a:cxn ang="0">
                    <a:pos x="3" y="671"/>
                  </a:cxn>
                  <a:cxn ang="0">
                    <a:pos x="45" y="667"/>
                  </a:cxn>
                  <a:cxn ang="0">
                    <a:pos x="26" y="631"/>
                  </a:cxn>
                  <a:cxn ang="0">
                    <a:pos x="75" y="615"/>
                  </a:cxn>
                  <a:cxn ang="0">
                    <a:pos x="145" y="614"/>
                  </a:cxn>
                  <a:cxn ang="0">
                    <a:pos x="183" y="620"/>
                  </a:cxn>
                  <a:cxn ang="0">
                    <a:pos x="220" y="574"/>
                  </a:cxn>
                  <a:cxn ang="0">
                    <a:pos x="260" y="555"/>
                  </a:cxn>
                  <a:cxn ang="0">
                    <a:pos x="281" y="440"/>
                  </a:cxn>
                  <a:cxn ang="0">
                    <a:pos x="346" y="370"/>
                  </a:cxn>
                  <a:cxn ang="0">
                    <a:pos x="370" y="276"/>
                  </a:cxn>
                  <a:cxn ang="0">
                    <a:pos x="372" y="180"/>
                  </a:cxn>
                  <a:cxn ang="0">
                    <a:pos x="383" y="122"/>
                  </a:cxn>
                  <a:cxn ang="0">
                    <a:pos x="440" y="35"/>
                  </a:cxn>
                  <a:cxn ang="0">
                    <a:pos x="491" y="30"/>
                  </a:cxn>
                  <a:cxn ang="0">
                    <a:pos x="558" y="77"/>
                  </a:cxn>
                  <a:cxn ang="0">
                    <a:pos x="637" y="73"/>
                  </a:cxn>
                  <a:cxn ang="0">
                    <a:pos x="670" y="44"/>
                  </a:cxn>
                  <a:cxn ang="0">
                    <a:pos x="734" y="34"/>
                  </a:cxn>
                  <a:cxn ang="0">
                    <a:pos x="795" y="17"/>
                  </a:cxn>
                  <a:cxn ang="0">
                    <a:pos x="828" y="8"/>
                  </a:cxn>
                  <a:cxn ang="0">
                    <a:pos x="859" y="24"/>
                  </a:cxn>
                </a:cxnLst>
                <a:rect l="0" t="0" r="r" b="b"/>
                <a:pathLst>
                  <a:path w="1145" h="1053">
                    <a:moveTo>
                      <a:pt x="894" y="24"/>
                    </a:moveTo>
                    <a:lnTo>
                      <a:pt x="894" y="32"/>
                    </a:lnTo>
                    <a:lnTo>
                      <a:pt x="895" y="38"/>
                    </a:lnTo>
                    <a:lnTo>
                      <a:pt x="896" y="44"/>
                    </a:lnTo>
                    <a:lnTo>
                      <a:pt x="897" y="49"/>
                    </a:lnTo>
                    <a:lnTo>
                      <a:pt x="900" y="53"/>
                    </a:lnTo>
                    <a:lnTo>
                      <a:pt x="902" y="57"/>
                    </a:lnTo>
                    <a:lnTo>
                      <a:pt x="906" y="61"/>
                    </a:lnTo>
                    <a:lnTo>
                      <a:pt x="909" y="64"/>
                    </a:lnTo>
                    <a:lnTo>
                      <a:pt x="918" y="68"/>
                    </a:lnTo>
                    <a:lnTo>
                      <a:pt x="926" y="71"/>
                    </a:lnTo>
                    <a:lnTo>
                      <a:pt x="936" y="72"/>
                    </a:lnTo>
                    <a:lnTo>
                      <a:pt x="947" y="72"/>
                    </a:lnTo>
                    <a:lnTo>
                      <a:pt x="993" y="66"/>
                    </a:lnTo>
                    <a:lnTo>
                      <a:pt x="1033" y="61"/>
                    </a:lnTo>
                    <a:lnTo>
                      <a:pt x="1038" y="61"/>
                    </a:lnTo>
                    <a:lnTo>
                      <a:pt x="1045" y="63"/>
                    </a:lnTo>
                    <a:lnTo>
                      <a:pt x="1051" y="64"/>
                    </a:lnTo>
                    <a:lnTo>
                      <a:pt x="1057" y="67"/>
                    </a:lnTo>
                    <a:lnTo>
                      <a:pt x="1069" y="73"/>
                    </a:lnTo>
                    <a:lnTo>
                      <a:pt x="1080" y="81"/>
                    </a:lnTo>
                    <a:lnTo>
                      <a:pt x="1099" y="98"/>
                    </a:lnTo>
                    <a:lnTo>
                      <a:pt x="1112" y="110"/>
                    </a:lnTo>
                    <a:lnTo>
                      <a:pt x="1113" y="124"/>
                    </a:lnTo>
                    <a:lnTo>
                      <a:pt x="1114" y="138"/>
                    </a:lnTo>
                    <a:lnTo>
                      <a:pt x="1117" y="152"/>
                    </a:lnTo>
                    <a:lnTo>
                      <a:pt x="1122" y="164"/>
                    </a:lnTo>
                    <a:lnTo>
                      <a:pt x="1126" y="175"/>
                    </a:lnTo>
                    <a:lnTo>
                      <a:pt x="1132" y="183"/>
                    </a:lnTo>
                    <a:lnTo>
                      <a:pt x="1135" y="186"/>
                    </a:lnTo>
                    <a:lnTo>
                      <a:pt x="1138" y="188"/>
                    </a:lnTo>
                    <a:lnTo>
                      <a:pt x="1142" y="190"/>
                    </a:lnTo>
                    <a:lnTo>
                      <a:pt x="1145" y="190"/>
                    </a:lnTo>
                    <a:lnTo>
                      <a:pt x="1139" y="202"/>
                    </a:lnTo>
                    <a:lnTo>
                      <a:pt x="1133" y="211"/>
                    </a:lnTo>
                    <a:lnTo>
                      <a:pt x="1125" y="220"/>
                    </a:lnTo>
                    <a:lnTo>
                      <a:pt x="1117" y="227"/>
                    </a:lnTo>
                    <a:lnTo>
                      <a:pt x="1100" y="240"/>
                    </a:lnTo>
                    <a:lnTo>
                      <a:pt x="1082" y="253"/>
                    </a:lnTo>
                    <a:lnTo>
                      <a:pt x="1074" y="259"/>
                    </a:lnTo>
                    <a:lnTo>
                      <a:pt x="1066" y="266"/>
                    </a:lnTo>
                    <a:lnTo>
                      <a:pt x="1058" y="272"/>
                    </a:lnTo>
                    <a:lnTo>
                      <a:pt x="1052" y="280"/>
                    </a:lnTo>
                    <a:lnTo>
                      <a:pt x="1046" y="288"/>
                    </a:lnTo>
                    <a:lnTo>
                      <a:pt x="1043" y="297"/>
                    </a:lnTo>
                    <a:lnTo>
                      <a:pt x="1040" y="308"/>
                    </a:lnTo>
                    <a:lnTo>
                      <a:pt x="1040" y="320"/>
                    </a:lnTo>
                    <a:lnTo>
                      <a:pt x="1041" y="339"/>
                    </a:lnTo>
                    <a:lnTo>
                      <a:pt x="1045" y="360"/>
                    </a:lnTo>
                    <a:lnTo>
                      <a:pt x="1046" y="371"/>
                    </a:lnTo>
                    <a:lnTo>
                      <a:pt x="1047" y="381"/>
                    </a:lnTo>
                    <a:lnTo>
                      <a:pt x="1047" y="391"/>
                    </a:lnTo>
                    <a:lnTo>
                      <a:pt x="1046" y="400"/>
                    </a:lnTo>
                    <a:lnTo>
                      <a:pt x="1034" y="410"/>
                    </a:lnTo>
                    <a:lnTo>
                      <a:pt x="1013" y="430"/>
                    </a:lnTo>
                    <a:lnTo>
                      <a:pt x="1003" y="440"/>
                    </a:lnTo>
                    <a:lnTo>
                      <a:pt x="995" y="450"/>
                    </a:lnTo>
                    <a:lnTo>
                      <a:pt x="991" y="455"/>
                    </a:lnTo>
                    <a:lnTo>
                      <a:pt x="988" y="460"/>
                    </a:lnTo>
                    <a:lnTo>
                      <a:pt x="987" y="464"/>
                    </a:lnTo>
                    <a:lnTo>
                      <a:pt x="986" y="467"/>
                    </a:lnTo>
                    <a:lnTo>
                      <a:pt x="987" y="470"/>
                    </a:lnTo>
                    <a:lnTo>
                      <a:pt x="990" y="476"/>
                    </a:lnTo>
                    <a:lnTo>
                      <a:pt x="995" y="481"/>
                    </a:lnTo>
                    <a:lnTo>
                      <a:pt x="999" y="486"/>
                    </a:lnTo>
                    <a:lnTo>
                      <a:pt x="1009" y="495"/>
                    </a:lnTo>
                    <a:lnTo>
                      <a:pt x="1012" y="499"/>
                    </a:lnTo>
                    <a:lnTo>
                      <a:pt x="1016" y="524"/>
                    </a:lnTo>
                    <a:lnTo>
                      <a:pt x="1019" y="550"/>
                    </a:lnTo>
                    <a:lnTo>
                      <a:pt x="1019" y="576"/>
                    </a:lnTo>
                    <a:lnTo>
                      <a:pt x="1019" y="610"/>
                    </a:lnTo>
                    <a:lnTo>
                      <a:pt x="1020" y="618"/>
                    </a:lnTo>
                    <a:lnTo>
                      <a:pt x="1022" y="625"/>
                    </a:lnTo>
                    <a:lnTo>
                      <a:pt x="1025" y="632"/>
                    </a:lnTo>
                    <a:lnTo>
                      <a:pt x="1026" y="640"/>
                    </a:lnTo>
                    <a:lnTo>
                      <a:pt x="1026" y="650"/>
                    </a:lnTo>
                    <a:lnTo>
                      <a:pt x="1026" y="664"/>
                    </a:lnTo>
                    <a:lnTo>
                      <a:pt x="1027" y="679"/>
                    </a:lnTo>
                    <a:lnTo>
                      <a:pt x="1031" y="696"/>
                    </a:lnTo>
                    <a:lnTo>
                      <a:pt x="1033" y="705"/>
                    </a:lnTo>
                    <a:lnTo>
                      <a:pt x="1035" y="713"/>
                    </a:lnTo>
                    <a:lnTo>
                      <a:pt x="1038" y="720"/>
                    </a:lnTo>
                    <a:lnTo>
                      <a:pt x="1043" y="726"/>
                    </a:lnTo>
                    <a:lnTo>
                      <a:pt x="1047" y="731"/>
                    </a:lnTo>
                    <a:lnTo>
                      <a:pt x="1053" y="735"/>
                    </a:lnTo>
                    <a:lnTo>
                      <a:pt x="1058" y="738"/>
                    </a:lnTo>
                    <a:lnTo>
                      <a:pt x="1066" y="739"/>
                    </a:lnTo>
                    <a:lnTo>
                      <a:pt x="1067" y="745"/>
                    </a:lnTo>
                    <a:lnTo>
                      <a:pt x="1070" y="751"/>
                    </a:lnTo>
                    <a:lnTo>
                      <a:pt x="1074" y="759"/>
                    </a:lnTo>
                    <a:lnTo>
                      <a:pt x="1079" y="765"/>
                    </a:lnTo>
                    <a:lnTo>
                      <a:pt x="1083" y="772"/>
                    </a:lnTo>
                    <a:lnTo>
                      <a:pt x="1088" y="780"/>
                    </a:lnTo>
                    <a:lnTo>
                      <a:pt x="1091" y="790"/>
                    </a:lnTo>
                    <a:lnTo>
                      <a:pt x="1092" y="800"/>
                    </a:lnTo>
                    <a:lnTo>
                      <a:pt x="1092" y="807"/>
                    </a:lnTo>
                    <a:lnTo>
                      <a:pt x="1092" y="816"/>
                    </a:lnTo>
                    <a:lnTo>
                      <a:pt x="1092" y="825"/>
                    </a:lnTo>
                    <a:lnTo>
                      <a:pt x="1092" y="831"/>
                    </a:lnTo>
                    <a:lnTo>
                      <a:pt x="1092" y="837"/>
                    </a:lnTo>
                    <a:lnTo>
                      <a:pt x="1080" y="836"/>
                    </a:lnTo>
                    <a:lnTo>
                      <a:pt x="1069" y="837"/>
                    </a:lnTo>
                    <a:lnTo>
                      <a:pt x="1059" y="840"/>
                    </a:lnTo>
                    <a:lnTo>
                      <a:pt x="1049" y="842"/>
                    </a:lnTo>
                    <a:lnTo>
                      <a:pt x="1040" y="844"/>
                    </a:lnTo>
                    <a:lnTo>
                      <a:pt x="1029" y="844"/>
                    </a:lnTo>
                    <a:lnTo>
                      <a:pt x="1023" y="844"/>
                    </a:lnTo>
                    <a:lnTo>
                      <a:pt x="1018" y="842"/>
                    </a:lnTo>
                    <a:lnTo>
                      <a:pt x="1012" y="840"/>
                    </a:lnTo>
                    <a:lnTo>
                      <a:pt x="1005" y="837"/>
                    </a:lnTo>
                    <a:lnTo>
                      <a:pt x="1001" y="846"/>
                    </a:lnTo>
                    <a:lnTo>
                      <a:pt x="997" y="856"/>
                    </a:lnTo>
                    <a:lnTo>
                      <a:pt x="993" y="869"/>
                    </a:lnTo>
                    <a:lnTo>
                      <a:pt x="990" y="883"/>
                    </a:lnTo>
                    <a:lnTo>
                      <a:pt x="982" y="914"/>
                    </a:lnTo>
                    <a:lnTo>
                      <a:pt x="975" y="947"/>
                    </a:lnTo>
                    <a:lnTo>
                      <a:pt x="970" y="962"/>
                    </a:lnTo>
                    <a:lnTo>
                      <a:pt x="966" y="978"/>
                    </a:lnTo>
                    <a:lnTo>
                      <a:pt x="960" y="992"/>
                    </a:lnTo>
                    <a:lnTo>
                      <a:pt x="955" y="1004"/>
                    </a:lnTo>
                    <a:lnTo>
                      <a:pt x="951" y="1009"/>
                    </a:lnTo>
                    <a:lnTo>
                      <a:pt x="947" y="1014"/>
                    </a:lnTo>
                    <a:lnTo>
                      <a:pt x="944" y="1018"/>
                    </a:lnTo>
                    <a:lnTo>
                      <a:pt x="940" y="1021"/>
                    </a:lnTo>
                    <a:lnTo>
                      <a:pt x="935" y="1024"/>
                    </a:lnTo>
                    <a:lnTo>
                      <a:pt x="930" y="1026"/>
                    </a:lnTo>
                    <a:lnTo>
                      <a:pt x="925" y="1028"/>
                    </a:lnTo>
                    <a:lnTo>
                      <a:pt x="920" y="1028"/>
                    </a:lnTo>
                    <a:lnTo>
                      <a:pt x="918" y="1029"/>
                    </a:lnTo>
                    <a:lnTo>
                      <a:pt x="912" y="1031"/>
                    </a:lnTo>
                    <a:lnTo>
                      <a:pt x="909" y="1032"/>
                    </a:lnTo>
                    <a:lnTo>
                      <a:pt x="906" y="1032"/>
                    </a:lnTo>
                    <a:lnTo>
                      <a:pt x="902" y="1031"/>
                    </a:lnTo>
                    <a:lnTo>
                      <a:pt x="900" y="1028"/>
                    </a:lnTo>
                    <a:lnTo>
                      <a:pt x="888" y="1035"/>
                    </a:lnTo>
                    <a:lnTo>
                      <a:pt x="873" y="1043"/>
                    </a:lnTo>
                    <a:lnTo>
                      <a:pt x="864" y="1047"/>
                    </a:lnTo>
                    <a:lnTo>
                      <a:pt x="856" y="1050"/>
                    </a:lnTo>
                    <a:lnTo>
                      <a:pt x="847" y="1052"/>
                    </a:lnTo>
                    <a:lnTo>
                      <a:pt x="840" y="1053"/>
                    </a:lnTo>
                    <a:lnTo>
                      <a:pt x="828" y="1053"/>
                    </a:lnTo>
                    <a:lnTo>
                      <a:pt x="816" y="1052"/>
                    </a:lnTo>
                    <a:lnTo>
                      <a:pt x="805" y="1049"/>
                    </a:lnTo>
                    <a:lnTo>
                      <a:pt x="795" y="1046"/>
                    </a:lnTo>
                    <a:lnTo>
                      <a:pt x="789" y="1043"/>
                    </a:lnTo>
                    <a:lnTo>
                      <a:pt x="786" y="1040"/>
                    </a:lnTo>
                    <a:lnTo>
                      <a:pt x="782" y="1037"/>
                    </a:lnTo>
                    <a:lnTo>
                      <a:pt x="779" y="1033"/>
                    </a:lnTo>
                    <a:lnTo>
                      <a:pt x="777" y="1027"/>
                    </a:lnTo>
                    <a:lnTo>
                      <a:pt x="775" y="1022"/>
                    </a:lnTo>
                    <a:lnTo>
                      <a:pt x="774" y="1016"/>
                    </a:lnTo>
                    <a:lnTo>
                      <a:pt x="774" y="1010"/>
                    </a:lnTo>
                    <a:lnTo>
                      <a:pt x="761" y="1011"/>
                    </a:lnTo>
                    <a:lnTo>
                      <a:pt x="743" y="1014"/>
                    </a:lnTo>
                    <a:lnTo>
                      <a:pt x="734" y="1014"/>
                    </a:lnTo>
                    <a:lnTo>
                      <a:pt x="727" y="1012"/>
                    </a:lnTo>
                    <a:lnTo>
                      <a:pt x="723" y="1011"/>
                    </a:lnTo>
                    <a:lnTo>
                      <a:pt x="719" y="1009"/>
                    </a:lnTo>
                    <a:lnTo>
                      <a:pt x="717" y="1007"/>
                    </a:lnTo>
                    <a:lnTo>
                      <a:pt x="713" y="1004"/>
                    </a:lnTo>
                    <a:lnTo>
                      <a:pt x="707" y="997"/>
                    </a:lnTo>
                    <a:lnTo>
                      <a:pt x="701" y="993"/>
                    </a:lnTo>
                    <a:lnTo>
                      <a:pt x="697" y="992"/>
                    </a:lnTo>
                    <a:lnTo>
                      <a:pt x="694" y="992"/>
                    </a:lnTo>
                    <a:lnTo>
                      <a:pt x="689" y="993"/>
                    </a:lnTo>
                    <a:lnTo>
                      <a:pt x="686" y="993"/>
                    </a:lnTo>
                    <a:lnTo>
                      <a:pt x="680" y="991"/>
                    </a:lnTo>
                    <a:lnTo>
                      <a:pt x="674" y="986"/>
                    </a:lnTo>
                    <a:lnTo>
                      <a:pt x="662" y="987"/>
                    </a:lnTo>
                    <a:lnTo>
                      <a:pt x="653" y="989"/>
                    </a:lnTo>
                    <a:lnTo>
                      <a:pt x="643" y="991"/>
                    </a:lnTo>
                    <a:lnTo>
                      <a:pt x="627" y="992"/>
                    </a:lnTo>
                    <a:lnTo>
                      <a:pt x="618" y="991"/>
                    </a:lnTo>
                    <a:lnTo>
                      <a:pt x="611" y="988"/>
                    </a:lnTo>
                    <a:lnTo>
                      <a:pt x="608" y="987"/>
                    </a:lnTo>
                    <a:lnTo>
                      <a:pt x="605" y="984"/>
                    </a:lnTo>
                    <a:lnTo>
                      <a:pt x="603" y="982"/>
                    </a:lnTo>
                    <a:lnTo>
                      <a:pt x="600" y="979"/>
                    </a:lnTo>
                    <a:lnTo>
                      <a:pt x="597" y="971"/>
                    </a:lnTo>
                    <a:lnTo>
                      <a:pt x="596" y="963"/>
                    </a:lnTo>
                    <a:lnTo>
                      <a:pt x="595" y="953"/>
                    </a:lnTo>
                    <a:lnTo>
                      <a:pt x="594" y="942"/>
                    </a:lnTo>
                    <a:lnTo>
                      <a:pt x="593" y="933"/>
                    </a:lnTo>
                    <a:lnTo>
                      <a:pt x="590" y="925"/>
                    </a:lnTo>
                    <a:lnTo>
                      <a:pt x="587" y="916"/>
                    </a:lnTo>
                    <a:lnTo>
                      <a:pt x="584" y="908"/>
                    </a:lnTo>
                    <a:lnTo>
                      <a:pt x="581" y="900"/>
                    </a:lnTo>
                    <a:lnTo>
                      <a:pt x="577" y="892"/>
                    </a:lnTo>
                    <a:lnTo>
                      <a:pt x="575" y="884"/>
                    </a:lnTo>
                    <a:lnTo>
                      <a:pt x="574" y="875"/>
                    </a:lnTo>
                    <a:lnTo>
                      <a:pt x="575" y="870"/>
                    </a:lnTo>
                    <a:lnTo>
                      <a:pt x="577" y="866"/>
                    </a:lnTo>
                    <a:lnTo>
                      <a:pt x="581" y="860"/>
                    </a:lnTo>
                    <a:lnTo>
                      <a:pt x="584" y="856"/>
                    </a:lnTo>
                    <a:lnTo>
                      <a:pt x="587" y="851"/>
                    </a:lnTo>
                    <a:lnTo>
                      <a:pt x="590" y="846"/>
                    </a:lnTo>
                    <a:lnTo>
                      <a:pt x="593" y="842"/>
                    </a:lnTo>
                    <a:lnTo>
                      <a:pt x="594" y="837"/>
                    </a:lnTo>
                    <a:lnTo>
                      <a:pt x="593" y="825"/>
                    </a:lnTo>
                    <a:lnTo>
                      <a:pt x="589" y="809"/>
                    </a:lnTo>
                    <a:lnTo>
                      <a:pt x="588" y="798"/>
                    </a:lnTo>
                    <a:lnTo>
                      <a:pt x="588" y="789"/>
                    </a:lnTo>
                    <a:lnTo>
                      <a:pt x="590" y="779"/>
                    </a:lnTo>
                    <a:lnTo>
                      <a:pt x="594" y="770"/>
                    </a:lnTo>
                    <a:lnTo>
                      <a:pt x="571" y="766"/>
                    </a:lnTo>
                    <a:lnTo>
                      <a:pt x="521" y="759"/>
                    </a:lnTo>
                    <a:lnTo>
                      <a:pt x="494" y="756"/>
                    </a:lnTo>
                    <a:lnTo>
                      <a:pt x="471" y="755"/>
                    </a:lnTo>
                    <a:lnTo>
                      <a:pt x="461" y="754"/>
                    </a:lnTo>
                    <a:lnTo>
                      <a:pt x="454" y="755"/>
                    </a:lnTo>
                    <a:lnTo>
                      <a:pt x="450" y="756"/>
                    </a:lnTo>
                    <a:lnTo>
                      <a:pt x="448" y="758"/>
                    </a:lnTo>
                    <a:lnTo>
                      <a:pt x="448" y="762"/>
                    </a:lnTo>
                    <a:lnTo>
                      <a:pt x="448" y="770"/>
                    </a:lnTo>
                    <a:lnTo>
                      <a:pt x="447" y="775"/>
                    </a:lnTo>
                    <a:lnTo>
                      <a:pt x="446" y="780"/>
                    </a:lnTo>
                    <a:lnTo>
                      <a:pt x="443" y="785"/>
                    </a:lnTo>
                    <a:lnTo>
                      <a:pt x="440" y="790"/>
                    </a:lnTo>
                    <a:lnTo>
                      <a:pt x="437" y="796"/>
                    </a:lnTo>
                    <a:lnTo>
                      <a:pt x="431" y="801"/>
                    </a:lnTo>
                    <a:lnTo>
                      <a:pt x="425" y="806"/>
                    </a:lnTo>
                    <a:lnTo>
                      <a:pt x="417" y="811"/>
                    </a:lnTo>
                    <a:lnTo>
                      <a:pt x="407" y="814"/>
                    </a:lnTo>
                    <a:lnTo>
                      <a:pt x="396" y="817"/>
                    </a:lnTo>
                    <a:lnTo>
                      <a:pt x="383" y="819"/>
                    </a:lnTo>
                    <a:lnTo>
                      <a:pt x="369" y="819"/>
                    </a:lnTo>
                    <a:lnTo>
                      <a:pt x="362" y="818"/>
                    </a:lnTo>
                    <a:lnTo>
                      <a:pt x="355" y="816"/>
                    </a:lnTo>
                    <a:lnTo>
                      <a:pt x="349" y="811"/>
                    </a:lnTo>
                    <a:lnTo>
                      <a:pt x="342" y="804"/>
                    </a:lnTo>
                    <a:lnTo>
                      <a:pt x="337" y="797"/>
                    </a:lnTo>
                    <a:lnTo>
                      <a:pt x="330" y="789"/>
                    </a:lnTo>
                    <a:lnTo>
                      <a:pt x="325" y="780"/>
                    </a:lnTo>
                    <a:lnTo>
                      <a:pt x="319" y="771"/>
                    </a:lnTo>
                    <a:lnTo>
                      <a:pt x="309" y="749"/>
                    </a:lnTo>
                    <a:lnTo>
                      <a:pt x="302" y="728"/>
                    </a:lnTo>
                    <a:lnTo>
                      <a:pt x="298" y="718"/>
                    </a:lnTo>
                    <a:lnTo>
                      <a:pt x="297" y="708"/>
                    </a:lnTo>
                    <a:lnTo>
                      <a:pt x="295" y="699"/>
                    </a:lnTo>
                    <a:lnTo>
                      <a:pt x="295" y="689"/>
                    </a:lnTo>
                    <a:lnTo>
                      <a:pt x="3" y="689"/>
                    </a:lnTo>
                    <a:lnTo>
                      <a:pt x="2" y="683"/>
                    </a:lnTo>
                    <a:lnTo>
                      <a:pt x="0" y="680"/>
                    </a:lnTo>
                    <a:lnTo>
                      <a:pt x="0" y="677"/>
                    </a:lnTo>
                    <a:lnTo>
                      <a:pt x="3" y="671"/>
                    </a:lnTo>
                    <a:lnTo>
                      <a:pt x="10" y="669"/>
                    </a:lnTo>
                    <a:lnTo>
                      <a:pt x="16" y="668"/>
                    </a:lnTo>
                    <a:lnTo>
                      <a:pt x="23" y="668"/>
                    </a:lnTo>
                    <a:lnTo>
                      <a:pt x="28" y="668"/>
                    </a:lnTo>
                    <a:lnTo>
                      <a:pt x="34" y="668"/>
                    </a:lnTo>
                    <a:lnTo>
                      <a:pt x="39" y="668"/>
                    </a:lnTo>
                    <a:lnTo>
                      <a:pt x="45" y="667"/>
                    </a:lnTo>
                    <a:lnTo>
                      <a:pt x="49" y="665"/>
                    </a:lnTo>
                    <a:lnTo>
                      <a:pt x="49" y="640"/>
                    </a:lnTo>
                    <a:lnTo>
                      <a:pt x="36" y="640"/>
                    </a:lnTo>
                    <a:lnTo>
                      <a:pt x="27" y="640"/>
                    </a:lnTo>
                    <a:lnTo>
                      <a:pt x="18" y="640"/>
                    </a:lnTo>
                    <a:lnTo>
                      <a:pt x="10" y="640"/>
                    </a:lnTo>
                    <a:lnTo>
                      <a:pt x="26" y="631"/>
                    </a:lnTo>
                    <a:lnTo>
                      <a:pt x="39" y="622"/>
                    </a:lnTo>
                    <a:lnTo>
                      <a:pt x="46" y="619"/>
                    </a:lnTo>
                    <a:lnTo>
                      <a:pt x="52" y="615"/>
                    </a:lnTo>
                    <a:lnTo>
                      <a:pt x="60" y="612"/>
                    </a:lnTo>
                    <a:lnTo>
                      <a:pt x="69" y="610"/>
                    </a:lnTo>
                    <a:lnTo>
                      <a:pt x="72" y="613"/>
                    </a:lnTo>
                    <a:lnTo>
                      <a:pt x="75" y="615"/>
                    </a:lnTo>
                    <a:lnTo>
                      <a:pt x="79" y="616"/>
                    </a:lnTo>
                    <a:lnTo>
                      <a:pt x="82" y="617"/>
                    </a:lnTo>
                    <a:lnTo>
                      <a:pt x="91" y="618"/>
                    </a:lnTo>
                    <a:lnTo>
                      <a:pt x="101" y="616"/>
                    </a:lnTo>
                    <a:lnTo>
                      <a:pt x="122" y="612"/>
                    </a:lnTo>
                    <a:lnTo>
                      <a:pt x="142" y="610"/>
                    </a:lnTo>
                    <a:lnTo>
                      <a:pt x="145" y="614"/>
                    </a:lnTo>
                    <a:lnTo>
                      <a:pt x="148" y="617"/>
                    </a:lnTo>
                    <a:lnTo>
                      <a:pt x="152" y="619"/>
                    </a:lnTo>
                    <a:lnTo>
                      <a:pt x="157" y="620"/>
                    </a:lnTo>
                    <a:lnTo>
                      <a:pt x="166" y="621"/>
                    </a:lnTo>
                    <a:lnTo>
                      <a:pt x="175" y="622"/>
                    </a:lnTo>
                    <a:lnTo>
                      <a:pt x="179" y="621"/>
                    </a:lnTo>
                    <a:lnTo>
                      <a:pt x="183" y="620"/>
                    </a:lnTo>
                    <a:lnTo>
                      <a:pt x="186" y="618"/>
                    </a:lnTo>
                    <a:lnTo>
                      <a:pt x="190" y="616"/>
                    </a:lnTo>
                    <a:lnTo>
                      <a:pt x="195" y="610"/>
                    </a:lnTo>
                    <a:lnTo>
                      <a:pt x="201" y="603"/>
                    </a:lnTo>
                    <a:lnTo>
                      <a:pt x="209" y="588"/>
                    </a:lnTo>
                    <a:lnTo>
                      <a:pt x="215" y="578"/>
                    </a:lnTo>
                    <a:lnTo>
                      <a:pt x="220" y="574"/>
                    </a:lnTo>
                    <a:lnTo>
                      <a:pt x="225" y="571"/>
                    </a:lnTo>
                    <a:lnTo>
                      <a:pt x="230" y="569"/>
                    </a:lnTo>
                    <a:lnTo>
                      <a:pt x="236" y="567"/>
                    </a:lnTo>
                    <a:lnTo>
                      <a:pt x="246" y="564"/>
                    </a:lnTo>
                    <a:lnTo>
                      <a:pt x="256" y="560"/>
                    </a:lnTo>
                    <a:lnTo>
                      <a:pt x="258" y="558"/>
                    </a:lnTo>
                    <a:lnTo>
                      <a:pt x="260" y="555"/>
                    </a:lnTo>
                    <a:lnTo>
                      <a:pt x="262" y="550"/>
                    </a:lnTo>
                    <a:lnTo>
                      <a:pt x="264" y="544"/>
                    </a:lnTo>
                    <a:lnTo>
                      <a:pt x="268" y="528"/>
                    </a:lnTo>
                    <a:lnTo>
                      <a:pt x="270" y="511"/>
                    </a:lnTo>
                    <a:lnTo>
                      <a:pt x="274" y="477"/>
                    </a:lnTo>
                    <a:lnTo>
                      <a:pt x="275" y="449"/>
                    </a:lnTo>
                    <a:lnTo>
                      <a:pt x="281" y="440"/>
                    </a:lnTo>
                    <a:lnTo>
                      <a:pt x="287" y="432"/>
                    </a:lnTo>
                    <a:lnTo>
                      <a:pt x="294" y="425"/>
                    </a:lnTo>
                    <a:lnTo>
                      <a:pt x="302" y="416"/>
                    </a:lnTo>
                    <a:lnTo>
                      <a:pt x="316" y="404"/>
                    </a:lnTo>
                    <a:lnTo>
                      <a:pt x="328" y="394"/>
                    </a:lnTo>
                    <a:lnTo>
                      <a:pt x="338" y="382"/>
                    </a:lnTo>
                    <a:lnTo>
                      <a:pt x="346" y="370"/>
                    </a:lnTo>
                    <a:lnTo>
                      <a:pt x="352" y="357"/>
                    </a:lnTo>
                    <a:lnTo>
                      <a:pt x="357" y="345"/>
                    </a:lnTo>
                    <a:lnTo>
                      <a:pt x="361" y="334"/>
                    </a:lnTo>
                    <a:lnTo>
                      <a:pt x="364" y="323"/>
                    </a:lnTo>
                    <a:lnTo>
                      <a:pt x="366" y="312"/>
                    </a:lnTo>
                    <a:lnTo>
                      <a:pt x="369" y="299"/>
                    </a:lnTo>
                    <a:lnTo>
                      <a:pt x="370" y="276"/>
                    </a:lnTo>
                    <a:lnTo>
                      <a:pt x="370" y="251"/>
                    </a:lnTo>
                    <a:lnTo>
                      <a:pt x="369" y="225"/>
                    </a:lnTo>
                    <a:lnTo>
                      <a:pt x="369" y="197"/>
                    </a:lnTo>
                    <a:lnTo>
                      <a:pt x="369" y="191"/>
                    </a:lnTo>
                    <a:lnTo>
                      <a:pt x="369" y="187"/>
                    </a:lnTo>
                    <a:lnTo>
                      <a:pt x="371" y="183"/>
                    </a:lnTo>
                    <a:lnTo>
                      <a:pt x="372" y="180"/>
                    </a:lnTo>
                    <a:lnTo>
                      <a:pt x="375" y="174"/>
                    </a:lnTo>
                    <a:lnTo>
                      <a:pt x="380" y="167"/>
                    </a:lnTo>
                    <a:lnTo>
                      <a:pt x="383" y="160"/>
                    </a:lnTo>
                    <a:lnTo>
                      <a:pt x="385" y="149"/>
                    </a:lnTo>
                    <a:lnTo>
                      <a:pt x="385" y="140"/>
                    </a:lnTo>
                    <a:lnTo>
                      <a:pt x="385" y="132"/>
                    </a:lnTo>
                    <a:lnTo>
                      <a:pt x="383" y="122"/>
                    </a:lnTo>
                    <a:lnTo>
                      <a:pt x="382" y="110"/>
                    </a:lnTo>
                    <a:lnTo>
                      <a:pt x="397" y="87"/>
                    </a:lnTo>
                    <a:lnTo>
                      <a:pt x="417" y="58"/>
                    </a:lnTo>
                    <a:lnTo>
                      <a:pt x="422" y="51"/>
                    </a:lnTo>
                    <a:lnTo>
                      <a:pt x="428" y="45"/>
                    </a:lnTo>
                    <a:lnTo>
                      <a:pt x="435" y="40"/>
                    </a:lnTo>
                    <a:lnTo>
                      <a:pt x="440" y="35"/>
                    </a:lnTo>
                    <a:lnTo>
                      <a:pt x="447" y="31"/>
                    </a:lnTo>
                    <a:lnTo>
                      <a:pt x="453" y="26"/>
                    </a:lnTo>
                    <a:lnTo>
                      <a:pt x="461" y="24"/>
                    </a:lnTo>
                    <a:lnTo>
                      <a:pt x="467" y="24"/>
                    </a:lnTo>
                    <a:lnTo>
                      <a:pt x="476" y="24"/>
                    </a:lnTo>
                    <a:lnTo>
                      <a:pt x="484" y="26"/>
                    </a:lnTo>
                    <a:lnTo>
                      <a:pt x="491" y="30"/>
                    </a:lnTo>
                    <a:lnTo>
                      <a:pt x="497" y="33"/>
                    </a:lnTo>
                    <a:lnTo>
                      <a:pt x="509" y="42"/>
                    </a:lnTo>
                    <a:lnTo>
                      <a:pt x="521" y="52"/>
                    </a:lnTo>
                    <a:lnTo>
                      <a:pt x="532" y="62"/>
                    </a:lnTo>
                    <a:lnTo>
                      <a:pt x="544" y="71"/>
                    </a:lnTo>
                    <a:lnTo>
                      <a:pt x="551" y="74"/>
                    </a:lnTo>
                    <a:lnTo>
                      <a:pt x="558" y="77"/>
                    </a:lnTo>
                    <a:lnTo>
                      <a:pt x="565" y="79"/>
                    </a:lnTo>
                    <a:lnTo>
                      <a:pt x="574" y="79"/>
                    </a:lnTo>
                    <a:lnTo>
                      <a:pt x="587" y="78"/>
                    </a:lnTo>
                    <a:lnTo>
                      <a:pt x="599" y="76"/>
                    </a:lnTo>
                    <a:lnTo>
                      <a:pt x="614" y="74"/>
                    </a:lnTo>
                    <a:lnTo>
                      <a:pt x="634" y="73"/>
                    </a:lnTo>
                    <a:lnTo>
                      <a:pt x="637" y="73"/>
                    </a:lnTo>
                    <a:lnTo>
                      <a:pt x="639" y="71"/>
                    </a:lnTo>
                    <a:lnTo>
                      <a:pt x="641" y="69"/>
                    </a:lnTo>
                    <a:lnTo>
                      <a:pt x="644" y="66"/>
                    </a:lnTo>
                    <a:lnTo>
                      <a:pt x="649" y="60"/>
                    </a:lnTo>
                    <a:lnTo>
                      <a:pt x="654" y="55"/>
                    </a:lnTo>
                    <a:lnTo>
                      <a:pt x="662" y="49"/>
                    </a:lnTo>
                    <a:lnTo>
                      <a:pt x="670" y="44"/>
                    </a:lnTo>
                    <a:lnTo>
                      <a:pt x="677" y="40"/>
                    </a:lnTo>
                    <a:lnTo>
                      <a:pt x="685" y="38"/>
                    </a:lnTo>
                    <a:lnTo>
                      <a:pt x="693" y="36"/>
                    </a:lnTo>
                    <a:lnTo>
                      <a:pt x="701" y="35"/>
                    </a:lnTo>
                    <a:lnTo>
                      <a:pt x="709" y="34"/>
                    </a:lnTo>
                    <a:lnTo>
                      <a:pt x="718" y="34"/>
                    </a:lnTo>
                    <a:lnTo>
                      <a:pt x="734" y="34"/>
                    </a:lnTo>
                    <a:lnTo>
                      <a:pt x="752" y="35"/>
                    </a:lnTo>
                    <a:lnTo>
                      <a:pt x="761" y="34"/>
                    </a:lnTo>
                    <a:lnTo>
                      <a:pt x="769" y="34"/>
                    </a:lnTo>
                    <a:lnTo>
                      <a:pt x="778" y="33"/>
                    </a:lnTo>
                    <a:lnTo>
                      <a:pt x="787" y="31"/>
                    </a:lnTo>
                    <a:lnTo>
                      <a:pt x="790" y="24"/>
                    </a:lnTo>
                    <a:lnTo>
                      <a:pt x="795" y="17"/>
                    </a:lnTo>
                    <a:lnTo>
                      <a:pt x="796" y="13"/>
                    </a:lnTo>
                    <a:lnTo>
                      <a:pt x="799" y="9"/>
                    </a:lnTo>
                    <a:lnTo>
                      <a:pt x="802" y="4"/>
                    </a:lnTo>
                    <a:lnTo>
                      <a:pt x="807" y="0"/>
                    </a:lnTo>
                    <a:lnTo>
                      <a:pt x="814" y="0"/>
                    </a:lnTo>
                    <a:lnTo>
                      <a:pt x="827" y="0"/>
                    </a:lnTo>
                    <a:lnTo>
                      <a:pt x="828" y="8"/>
                    </a:lnTo>
                    <a:lnTo>
                      <a:pt x="830" y="14"/>
                    </a:lnTo>
                    <a:lnTo>
                      <a:pt x="833" y="18"/>
                    </a:lnTo>
                    <a:lnTo>
                      <a:pt x="839" y="21"/>
                    </a:lnTo>
                    <a:lnTo>
                      <a:pt x="843" y="22"/>
                    </a:lnTo>
                    <a:lnTo>
                      <a:pt x="848" y="23"/>
                    </a:lnTo>
                    <a:lnTo>
                      <a:pt x="854" y="24"/>
                    </a:lnTo>
                    <a:lnTo>
                      <a:pt x="859" y="24"/>
                    </a:lnTo>
                    <a:lnTo>
                      <a:pt x="869" y="24"/>
                    </a:lnTo>
                    <a:lnTo>
                      <a:pt x="879" y="24"/>
                    </a:lnTo>
                    <a:lnTo>
                      <a:pt x="887" y="24"/>
                    </a:lnTo>
                    <a:lnTo>
                      <a:pt x="894" y="24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22" name="Freeform 249"/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3847013" y="3734910"/>
                <a:ext cx="116898" cy="98836"/>
              </a:xfrm>
              <a:custGeom>
                <a:avLst/>
                <a:gdLst/>
                <a:ahLst/>
                <a:cxnLst>
                  <a:cxn ang="0">
                    <a:pos x="120" y="0"/>
                  </a:cxn>
                  <a:cxn ang="0">
                    <a:pos x="121" y="27"/>
                  </a:cxn>
                  <a:cxn ang="0">
                    <a:pos x="124" y="46"/>
                  </a:cxn>
                  <a:cxn ang="0">
                    <a:pos x="125" y="53"/>
                  </a:cxn>
                  <a:cxn ang="0">
                    <a:pos x="125" y="59"/>
                  </a:cxn>
                  <a:cxn ang="0">
                    <a:pos x="125" y="65"/>
                  </a:cxn>
                  <a:cxn ang="0">
                    <a:pos x="123" y="69"/>
                  </a:cxn>
                  <a:cxn ang="0">
                    <a:pos x="119" y="72"/>
                  </a:cxn>
                  <a:cxn ang="0">
                    <a:pos x="112" y="74"/>
                  </a:cxn>
                  <a:cxn ang="0">
                    <a:pos x="103" y="76"/>
                  </a:cxn>
                  <a:cxn ang="0">
                    <a:pos x="91" y="77"/>
                  </a:cxn>
                  <a:cxn ang="0">
                    <a:pos x="57" y="79"/>
                  </a:cxn>
                  <a:cxn ang="0">
                    <a:pos x="7" y="81"/>
                  </a:cxn>
                  <a:cxn ang="0">
                    <a:pos x="5" y="79"/>
                  </a:cxn>
                  <a:cxn ang="0">
                    <a:pos x="3" y="72"/>
                  </a:cxn>
                  <a:cxn ang="0">
                    <a:pos x="1" y="59"/>
                  </a:cxn>
                  <a:cxn ang="0">
                    <a:pos x="0" y="43"/>
                  </a:cxn>
                  <a:cxn ang="0">
                    <a:pos x="0" y="37"/>
                  </a:cxn>
                  <a:cxn ang="0">
                    <a:pos x="1" y="31"/>
                  </a:cxn>
                  <a:cxn ang="0">
                    <a:pos x="2" y="25"/>
                  </a:cxn>
                  <a:cxn ang="0">
                    <a:pos x="4" y="20"/>
                  </a:cxn>
                  <a:cxn ang="0">
                    <a:pos x="8" y="15"/>
                  </a:cxn>
                  <a:cxn ang="0">
                    <a:pos x="11" y="10"/>
                  </a:cxn>
                  <a:cxn ang="0">
                    <a:pos x="14" y="5"/>
                  </a:cxn>
                  <a:cxn ang="0">
                    <a:pos x="20" y="0"/>
                  </a:cxn>
                  <a:cxn ang="0">
                    <a:pos x="120" y="0"/>
                  </a:cxn>
                </a:cxnLst>
                <a:rect l="0" t="0" r="r" b="b"/>
                <a:pathLst>
                  <a:path w="125" h="81">
                    <a:moveTo>
                      <a:pt x="120" y="0"/>
                    </a:moveTo>
                    <a:lnTo>
                      <a:pt x="121" y="27"/>
                    </a:lnTo>
                    <a:lnTo>
                      <a:pt x="124" y="46"/>
                    </a:lnTo>
                    <a:lnTo>
                      <a:pt x="125" y="53"/>
                    </a:lnTo>
                    <a:lnTo>
                      <a:pt x="125" y="59"/>
                    </a:lnTo>
                    <a:lnTo>
                      <a:pt x="125" y="65"/>
                    </a:lnTo>
                    <a:lnTo>
                      <a:pt x="123" y="69"/>
                    </a:lnTo>
                    <a:lnTo>
                      <a:pt x="119" y="72"/>
                    </a:lnTo>
                    <a:lnTo>
                      <a:pt x="112" y="74"/>
                    </a:lnTo>
                    <a:lnTo>
                      <a:pt x="103" y="76"/>
                    </a:lnTo>
                    <a:lnTo>
                      <a:pt x="91" y="77"/>
                    </a:lnTo>
                    <a:lnTo>
                      <a:pt x="57" y="79"/>
                    </a:lnTo>
                    <a:lnTo>
                      <a:pt x="7" y="81"/>
                    </a:lnTo>
                    <a:lnTo>
                      <a:pt x="5" y="79"/>
                    </a:lnTo>
                    <a:lnTo>
                      <a:pt x="3" y="72"/>
                    </a:lnTo>
                    <a:lnTo>
                      <a:pt x="1" y="59"/>
                    </a:lnTo>
                    <a:lnTo>
                      <a:pt x="0" y="43"/>
                    </a:lnTo>
                    <a:lnTo>
                      <a:pt x="0" y="37"/>
                    </a:lnTo>
                    <a:lnTo>
                      <a:pt x="1" y="31"/>
                    </a:lnTo>
                    <a:lnTo>
                      <a:pt x="2" y="25"/>
                    </a:lnTo>
                    <a:lnTo>
                      <a:pt x="4" y="20"/>
                    </a:lnTo>
                    <a:lnTo>
                      <a:pt x="8" y="15"/>
                    </a:lnTo>
                    <a:lnTo>
                      <a:pt x="11" y="10"/>
                    </a:lnTo>
                    <a:lnTo>
                      <a:pt x="14" y="5"/>
                    </a:lnTo>
                    <a:lnTo>
                      <a:pt x="20" y="0"/>
                    </a:lnTo>
                    <a:lnTo>
                      <a:pt x="120" y="0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23" name="Freeform 250"/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3810272" y="3734910"/>
                <a:ext cx="320630" cy="358634"/>
              </a:xfrm>
              <a:custGeom>
                <a:avLst/>
                <a:gdLst/>
                <a:ahLst/>
                <a:cxnLst>
                  <a:cxn ang="0">
                    <a:pos x="262" y="15"/>
                  </a:cxn>
                  <a:cxn ang="0">
                    <a:pos x="257" y="37"/>
                  </a:cxn>
                  <a:cxn ang="0">
                    <a:pos x="264" y="51"/>
                  </a:cxn>
                  <a:cxn ang="0">
                    <a:pos x="283" y="60"/>
                  </a:cxn>
                  <a:cxn ang="0">
                    <a:pos x="319" y="55"/>
                  </a:cxn>
                  <a:cxn ang="0">
                    <a:pos x="332" y="57"/>
                  </a:cxn>
                  <a:cxn ang="0">
                    <a:pos x="340" y="68"/>
                  </a:cxn>
                  <a:cxn ang="0">
                    <a:pos x="345" y="83"/>
                  </a:cxn>
                  <a:cxn ang="0">
                    <a:pos x="351" y="94"/>
                  </a:cxn>
                  <a:cxn ang="0">
                    <a:pos x="345" y="108"/>
                  </a:cxn>
                  <a:cxn ang="0">
                    <a:pos x="320" y="136"/>
                  </a:cxn>
                  <a:cxn ang="0">
                    <a:pos x="348" y="175"/>
                  </a:cxn>
                  <a:cxn ang="0">
                    <a:pos x="355" y="202"/>
                  </a:cxn>
                  <a:cxn ang="0">
                    <a:pos x="353" y="219"/>
                  </a:cxn>
                  <a:cxn ang="0">
                    <a:pos x="345" y="254"/>
                  </a:cxn>
                  <a:cxn ang="0">
                    <a:pos x="333" y="271"/>
                  </a:cxn>
                  <a:cxn ang="0">
                    <a:pos x="312" y="280"/>
                  </a:cxn>
                  <a:cxn ang="0">
                    <a:pos x="286" y="282"/>
                  </a:cxn>
                  <a:cxn ang="0">
                    <a:pos x="270" y="282"/>
                  </a:cxn>
                  <a:cxn ang="0">
                    <a:pos x="252" y="265"/>
                  </a:cxn>
                  <a:cxn ang="0">
                    <a:pos x="240" y="259"/>
                  </a:cxn>
                  <a:cxn ang="0">
                    <a:pos x="221" y="269"/>
                  </a:cxn>
                  <a:cxn ang="0">
                    <a:pos x="205" y="279"/>
                  </a:cxn>
                  <a:cxn ang="0">
                    <a:pos x="194" y="285"/>
                  </a:cxn>
                  <a:cxn ang="0">
                    <a:pos x="185" y="298"/>
                  </a:cxn>
                  <a:cxn ang="0">
                    <a:pos x="187" y="321"/>
                  </a:cxn>
                  <a:cxn ang="0">
                    <a:pos x="207" y="358"/>
                  </a:cxn>
                  <a:cxn ang="0">
                    <a:pos x="195" y="353"/>
                  </a:cxn>
                  <a:cxn ang="0">
                    <a:pos x="177" y="355"/>
                  </a:cxn>
                  <a:cxn ang="0">
                    <a:pos x="162" y="365"/>
                  </a:cxn>
                  <a:cxn ang="0">
                    <a:pos x="146" y="388"/>
                  </a:cxn>
                  <a:cxn ang="0">
                    <a:pos x="123" y="370"/>
                  </a:cxn>
                  <a:cxn ang="0">
                    <a:pos x="113" y="358"/>
                  </a:cxn>
                  <a:cxn ang="0">
                    <a:pos x="96" y="324"/>
                  </a:cxn>
                  <a:cxn ang="0">
                    <a:pos x="50" y="280"/>
                  </a:cxn>
                  <a:cxn ang="0">
                    <a:pos x="22" y="254"/>
                  </a:cxn>
                  <a:cxn ang="0">
                    <a:pos x="5" y="223"/>
                  </a:cxn>
                  <a:cxn ang="0">
                    <a:pos x="1" y="187"/>
                  </a:cxn>
                  <a:cxn ang="0">
                    <a:pos x="11" y="162"/>
                  </a:cxn>
                  <a:cxn ang="0">
                    <a:pos x="41" y="134"/>
                  </a:cxn>
                  <a:cxn ang="0">
                    <a:pos x="54" y="116"/>
                  </a:cxn>
                  <a:cxn ang="0">
                    <a:pos x="56" y="91"/>
                  </a:cxn>
                  <a:cxn ang="0">
                    <a:pos x="108" y="83"/>
                  </a:cxn>
                  <a:cxn ang="0">
                    <a:pos x="156" y="80"/>
                  </a:cxn>
                  <a:cxn ang="0">
                    <a:pos x="172" y="73"/>
                  </a:cxn>
                  <a:cxn ang="0">
                    <a:pos x="177" y="63"/>
                  </a:cxn>
                  <a:cxn ang="0">
                    <a:pos x="174" y="41"/>
                  </a:cxn>
                  <a:cxn ang="0">
                    <a:pos x="167" y="12"/>
                  </a:cxn>
                </a:cxnLst>
                <a:rect l="0" t="0" r="r" b="b"/>
                <a:pathLst>
                  <a:path w="355" h="388">
                    <a:moveTo>
                      <a:pt x="266" y="7"/>
                    </a:moveTo>
                    <a:lnTo>
                      <a:pt x="265" y="9"/>
                    </a:lnTo>
                    <a:lnTo>
                      <a:pt x="262" y="15"/>
                    </a:lnTo>
                    <a:lnTo>
                      <a:pt x="259" y="23"/>
                    </a:lnTo>
                    <a:lnTo>
                      <a:pt x="257" y="32"/>
                    </a:lnTo>
                    <a:lnTo>
                      <a:pt x="257" y="37"/>
                    </a:lnTo>
                    <a:lnTo>
                      <a:pt x="258" y="42"/>
                    </a:lnTo>
                    <a:lnTo>
                      <a:pt x="261" y="46"/>
                    </a:lnTo>
                    <a:lnTo>
                      <a:pt x="264" y="51"/>
                    </a:lnTo>
                    <a:lnTo>
                      <a:pt x="268" y="54"/>
                    </a:lnTo>
                    <a:lnTo>
                      <a:pt x="275" y="58"/>
                    </a:lnTo>
                    <a:lnTo>
                      <a:pt x="283" y="60"/>
                    </a:lnTo>
                    <a:lnTo>
                      <a:pt x="294" y="63"/>
                    </a:lnTo>
                    <a:lnTo>
                      <a:pt x="301" y="58"/>
                    </a:lnTo>
                    <a:lnTo>
                      <a:pt x="319" y="55"/>
                    </a:lnTo>
                    <a:lnTo>
                      <a:pt x="323" y="55"/>
                    </a:lnTo>
                    <a:lnTo>
                      <a:pt x="328" y="55"/>
                    </a:lnTo>
                    <a:lnTo>
                      <a:pt x="332" y="57"/>
                    </a:lnTo>
                    <a:lnTo>
                      <a:pt x="335" y="59"/>
                    </a:lnTo>
                    <a:lnTo>
                      <a:pt x="337" y="63"/>
                    </a:lnTo>
                    <a:lnTo>
                      <a:pt x="340" y="68"/>
                    </a:lnTo>
                    <a:lnTo>
                      <a:pt x="340" y="74"/>
                    </a:lnTo>
                    <a:lnTo>
                      <a:pt x="340" y="81"/>
                    </a:lnTo>
                    <a:lnTo>
                      <a:pt x="345" y="83"/>
                    </a:lnTo>
                    <a:lnTo>
                      <a:pt x="348" y="87"/>
                    </a:lnTo>
                    <a:lnTo>
                      <a:pt x="350" y="90"/>
                    </a:lnTo>
                    <a:lnTo>
                      <a:pt x="351" y="94"/>
                    </a:lnTo>
                    <a:lnTo>
                      <a:pt x="350" y="99"/>
                    </a:lnTo>
                    <a:lnTo>
                      <a:pt x="347" y="103"/>
                    </a:lnTo>
                    <a:lnTo>
                      <a:pt x="345" y="108"/>
                    </a:lnTo>
                    <a:lnTo>
                      <a:pt x="342" y="113"/>
                    </a:lnTo>
                    <a:lnTo>
                      <a:pt x="328" y="129"/>
                    </a:lnTo>
                    <a:lnTo>
                      <a:pt x="320" y="136"/>
                    </a:lnTo>
                    <a:lnTo>
                      <a:pt x="326" y="143"/>
                    </a:lnTo>
                    <a:lnTo>
                      <a:pt x="341" y="162"/>
                    </a:lnTo>
                    <a:lnTo>
                      <a:pt x="348" y="175"/>
                    </a:lnTo>
                    <a:lnTo>
                      <a:pt x="353" y="188"/>
                    </a:lnTo>
                    <a:lnTo>
                      <a:pt x="355" y="195"/>
                    </a:lnTo>
                    <a:lnTo>
                      <a:pt x="355" y="202"/>
                    </a:lnTo>
                    <a:lnTo>
                      <a:pt x="355" y="209"/>
                    </a:lnTo>
                    <a:lnTo>
                      <a:pt x="353" y="216"/>
                    </a:lnTo>
                    <a:lnTo>
                      <a:pt x="353" y="219"/>
                    </a:lnTo>
                    <a:lnTo>
                      <a:pt x="352" y="228"/>
                    </a:lnTo>
                    <a:lnTo>
                      <a:pt x="350" y="241"/>
                    </a:lnTo>
                    <a:lnTo>
                      <a:pt x="345" y="254"/>
                    </a:lnTo>
                    <a:lnTo>
                      <a:pt x="342" y="260"/>
                    </a:lnTo>
                    <a:lnTo>
                      <a:pt x="339" y="266"/>
                    </a:lnTo>
                    <a:lnTo>
                      <a:pt x="333" y="271"/>
                    </a:lnTo>
                    <a:lnTo>
                      <a:pt x="328" y="276"/>
                    </a:lnTo>
                    <a:lnTo>
                      <a:pt x="321" y="279"/>
                    </a:lnTo>
                    <a:lnTo>
                      <a:pt x="312" y="280"/>
                    </a:lnTo>
                    <a:lnTo>
                      <a:pt x="303" y="280"/>
                    </a:lnTo>
                    <a:lnTo>
                      <a:pt x="294" y="277"/>
                    </a:lnTo>
                    <a:lnTo>
                      <a:pt x="286" y="282"/>
                    </a:lnTo>
                    <a:lnTo>
                      <a:pt x="280" y="285"/>
                    </a:lnTo>
                    <a:lnTo>
                      <a:pt x="275" y="285"/>
                    </a:lnTo>
                    <a:lnTo>
                      <a:pt x="270" y="282"/>
                    </a:lnTo>
                    <a:lnTo>
                      <a:pt x="263" y="276"/>
                    </a:lnTo>
                    <a:lnTo>
                      <a:pt x="255" y="268"/>
                    </a:lnTo>
                    <a:lnTo>
                      <a:pt x="252" y="265"/>
                    </a:lnTo>
                    <a:lnTo>
                      <a:pt x="249" y="261"/>
                    </a:lnTo>
                    <a:lnTo>
                      <a:pt x="244" y="259"/>
                    </a:lnTo>
                    <a:lnTo>
                      <a:pt x="240" y="259"/>
                    </a:lnTo>
                    <a:lnTo>
                      <a:pt x="234" y="260"/>
                    </a:lnTo>
                    <a:lnTo>
                      <a:pt x="229" y="263"/>
                    </a:lnTo>
                    <a:lnTo>
                      <a:pt x="221" y="269"/>
                    </a:lnTo>
                    <a:lnTo>
                      <a:pt x="213" y="277"/>
                    </a:lnTo>
                    <a:lnTo>
                      <a:pt x="211" y="278"/>
                    </a:lnTo>
                    <a:lnTo>
                      <a:pt x="205" y="279"/>
                    </a:lnTo>
                    <a:lnTo>
                      <a:pt x="201" y="280"/>
                    </a:lnTo>
                    <a:lnTo>
                      <a:pt x="197" y="282"/>
                    </a:lnTo>
                    <a:lnTo>
                      <a:pt x="194" y="285"/>
                    </a:lnTo>
                    <a:lnTo>
                      <a:pt x="190" y="288"/>
                    </a:lnTo>
                    <a:lnTo>
                      <a:pt x="187" y="292"/>
                    </a:lnTo>
                    <a:lnTo>
                      <a:pt x="185" y="298"/>
                    </a:lnTo>
                    <a:lnTo>
                      <a:pt x="185" y="304"/>
                    </a:lnTo>
                    <a:lnTo>
                      <a:pt x="185" y="312"/>
                    </a:lnTo>
                    <a:lnTo>
                      <a:pt x="187" y="321"/>
                    </a:lnTo>
                    <a:lnTo>
                      <a:pt x="191" y="331"/>
                    </a:lnTo>
                    <a:lnTo>
                      <a:pt x="198" y="344"/>
                    </a:lnTo>
                    <a:lnTo>
                      <a:pt x="207" y="358"/>
                    </a:lnTo>
                    <a:lnTo>
                      <a:pt x="206" y="357"/>
                    </a:lnTo>
                    <a:lnTo>
                      <a:pt x="201" y="355"/>
                    </a:lnTo>
                    <a:lnTo>
                      <a:pt x="195" y="353"/>
                    </a:lnTo>
                    <a:lnTo>
                      <a:pt x="187" y="353"/>
                    </a:lnTo>
                    <a:lnTo>
                      <a:pt x="183" y="353"/>
                    </a:lnTo>
                    <a:lnTo>
                      <a:pt x="177" y="355"/>
                    </a:lnTo>
                    <a:lnTo>
                      <a:pt x="173" y="357"/>
                    </a:lnTo>
                    <a:lnTo>
                      <a:pt x="167" y="361"/>
                    </a:lnTo>
                    <a:lnTo>
                      <a:pt x="162" y="365"/>
                    </a:lnTo>
                    <a:lnTo>
                      <a:pt x="157" y="371"/>
                    </a:lnTo>
                    <a:lnTo>
                      <a:pt x="152" y="379"/>
                    </a:lnTo>
                    <a:lnTo>
                      <a:pt x="146" y="388"/>
                    </a:lnTo>
                    <a:lnTo>
                      <a:pt x="137" y="380"/>
                    </a:lnTo>
                    <a:lnTo>
                      <a:pt x="128" y="373"/>
                    </a:lnTo>
                    <a:lnTo>
                      <a:pt x="123" y="370"/>
                    </a:lnTo>
                    <a:lnTo>
                      <a:pt x="120" y="366"/>
                    </a:lnTo>
                    <a:lnTo>
                      <a:pt x="117" y="362"/>
                    </a:lnTo>
                    <a:lnTo>
                      <a:pt x="113" y="358"/>
                    </a:lnTo>
                    <a:lnTo>
                      <a:pt x="109" y="346"/>
                    </a:lnTo>
                    <a:lnTo>
                      <a:pt x="102" y="334"/>
                    </a:lnTo>
                    <a:lnTo>
                      <a:pt x="96" y="324"/>
                    </a:lnTo>
                    <a:lnTo>
                      <a:pt x="87" y="315"/>
                    </a:lnTo>
                    <a:lnTo>
                      <a:pt x="70" y="297"/>
                    </a:lnTo>
                    <a:lnTo>
                      <a:pt x="50" y="280"/>
                    </a:lnTo>
                    <a:lnTo>
                      <a:pt x="40" y="271"/>
                    </a:lnTo>
                    <a:lnTo>
                      <a:pt x="31" y="263"/>
                    </a:lnTo>
                    <a:lnTo>
                      <a:pt x="22" y="254"/>
                    </a:lnTo>
                    <a:lnTo>
                      <a:pt x="16" y="245"/>
                    </a:lnTo>
                    <a:lnTo>
                      <a:pt x="9" y="235"/>
                    </a:lnTo>
                    <a:lnTo>
                      <a:pt x="5" y="223"/>
                    </a:lnTo>
                    <a:lnTo>
                      <a:pt x="1" y="211"/>
                    </a:lnTo>
                    <a:lnTo>
                      <a:pt x="0" y="198"/>
                    </a:lnTo>
                    <a:lnTo>
                      <a:pt x="1" y="187"/>
                    </a:lnTo>
                    <a:lnTo>
                      <a:pt x="4" y="178"/>
                    </a:lnTo>
                    <a:lnTo>
                      <a:pt x="7" y="169"/>
                    </a:lnTo>
                    <a:lnTo>
                      <a:pt x="11" y="162"/>
                    </a:lnTo>
                    <a:lnTo>
                      <a:pt x="22" y="150"/>
                    </a:lnTo>
                    <a:lnTo>
                      <a:pt x="34" y="139"/>
                    </a:lnTo>
                    <a:lnTo>
                      <a:pt x="41" y="134"/>
                    </a:lnTo>
                    <a:lnTo>
                      <a:pt x="45" y="129"/>
                    </a:lnTo>
                    <a:lnTo>
                      <a:pt x="50" y="123"/>
                    </a:lnTo>
                    <a:lnTo>
                      <a:pt x="54" y="116"/>
                    </a:lnTo>
                    <a:lnTo>
                      <a:pt x="56" y="109"/>
                    </a:lnTo>
                    <a:lnTo>
                      <a:pt x="57" y="101"/>
                    </a:lnTo>
                    <a:lnTo>
                      <a:pt x="56" y="91"/>
                    </a:lnTo>
                    <a:lnTo>
                      <a:pt x="54" y="81"/>
                    </a:lnTo>
                    <a:lnTo>
                      <a:pt x="84" y="83"/>
                    </a:lnTo>
                    <a:lnTo>
                      <a:pt x="108" y="83"/>
                    </a:lnTo>
                    <a:lnTo>
                      <a:pt x="129" y="83"/>
                    </a:lnTo>
                    <a:lnTo>
                      <a:pt x="144" y="82"/>
                    </a:lnTo>
                    <a:lnTo>
                      <a:pt x="156" y="80"/>
                    </a:lnTo>
                    <a:lnTo>
                      <a:pt x="165" y="77"/>
                    </a:lnTo>
                    <a:lnTo>
                      <a:pt x="168" y="75"/>
                    </a:lnTo>
                    <a:lnTo>
                      <a:pt x="172" y="73"/>
                    </a:lnTo>
                    <a:lnTo>
                      <a:pt x="174" y="71"/>
                    </a:lnTo>
                    <a:lnTo>
                      <a:pt x="175" y="69"/>
                    </a:lnTo>
                    <a:lnTo>
                      <a:pt x="177" y="63"/>
                    </a:lnTo>
                    <a:lnTo>
                      <a:pt x="176" y="56"/>
                    </a:lnTo>
                    <a:lnTo>
                      <a:pt x="175" y="49"/>
                    </a:lnTo>
                    <a:lnTo>
                      <a:pt x="174" y="41"/>
                    </a:lnTo>
                    <a:lnTo>
                      <a:pt x="172" y="32"/>
                    </a:lnTo>
                    <a:lnTo>
                      <a:pt x="169" y="22"/>
                    </a:lnTo>
                    <a:lnTo>
                      <a:pt x="167" y="12"/>
                    </a:lnTo>
                    <a:lnTo>
                      <a:pt x="167" y="0"/>
                    </a:lnTo>
                    <a:lnTo>
                      <a:pt x="266" y="7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24" name="Freeform 251"/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932482" y="4454998"/>
                <a:ext cx="547745" cy="926234"/>
              </a:xfrm>
              <a:custGeom>
                <a:avLst/>
                <a:gdLst/>
                <a:ahLst/>
                <a:cxnLst>
                  <a:cxn ang="0">
                    <a:pos x="0" y="259"/>
                  </a:cxn>
                  <a:cxn ang="0">
                    <a:pos x="182" y="224"/>
                  </a:cxn>
                  <a:cxn ang="0">
                    <a:pos x="230" y="240"/>
                  </a:cxn>
                  <a:cxn ang="0">
                    <a:pos x="258" y="258"/>
                  </a:cxn>
                  <a:cxn ang="0">
                    <a:pos x="252" y="296"/>
                  </a:cxn>
                  <a:cxn ang="0">
                    <a:pos x="234" y="327"/>
                  </a:cxn>
                  <a:cxn ang="0">
                    <a:pos x="250" y="357"/>
                  </a:cxn>
                  <a:cxn ang="0">
                    <a:pos x="294" y="365"/>
                  </a:cxn>
                  <a:cxn ang="0">
                    <a:pos x="319" y="340"/>
                  </a:cxn>
                  <a:cxn ang="0">
                    <a:pos x="338" y="317"/>
                  </a:cxn>
                  <a:cxn ang="0">
                    <a:pos x="332" y="261"/>
                  </a:cxn>
                  <a:cxn ang="0">
                    <a:pos x="314" y="204"/>
                  </a:cxn>
                  <a:cxn ang="0">
                    <a:pos x="271" y="157"/>
                  </a:cxn>
                  <a:cxn ang="0">
                    <a:pos x="254" y="125"/>
                  </a:cxn>
                  <a:cxn ang="0">
                    <a:pos x="270" y="62"/>
                  </a:cxn>
                  <a:cxn ang="0">
                    <a:pos x="320" y="55"/>
                  </a:cxn>
                  <a:cxn ang="0">
                    <a:pos x="418" y="60"/>
                  </a:cxn>
                  <a:cxn ang="0">
                    <a:pos x="521" y="36"/>
                  </a:cxn>
                  <a:cxn ang="0">
                    <a:pos x="597" y="3"/>
                  </a:cxn>
                  <a:cxn ang="0">
                    <a:pos x="597" y="30"/>
                  </a:cxn>
                  <a:cxn ang="0">
                    <a:pos x="597" y="126"/>
                  </a:cxn>
                  <a:cxn ang="0">
                    <a:pos x="592" y="228"/>
                  </a:cxn>
                  <a:cxn ang="0">
                    <a:pos x="585" y="276"/>
                  </a:cxn>
                  <a:cxn ang="0">
                    <a:pos x="550" y="337"/>
                  </a:cxn>
                  <a:cxn ang="0">
                    <a:pos x="468" y="402"/>
                  </a:cxn>
                  <a:cxn ang="0">
                    <a:pos x="374" y="426"/>
                  </a:cxn>
                  <a:cxn ang="0">
                    <a:pos x="353" y="464"/>
                  </a:cxn>
                  <a:cxn ang="0">
                    <a:pos x="293" y="507"/>
                  </a:cxn>
                  <a:cxn ang="0">
                    <a:pos x="243" y="549"/>
                  </a:cxn>
                  <a:cxn ang="0">
                    <a:pos x="229" y="582"/>
                  </a:cxn>
                  <a:cxn ang="0">
                    <a:pos x="237" y="619"/>
                  </a:cxn>
                  <a:cxn ang="0">
                    <a:pos x="267" y="654"/>
                  </a:cxn>
                  <a:cxn ang="0">
                    <a:pos x="254" y="694"/>
                  </a:cxn>
                  <a:cxn ang="0">
                    <a:pos x="265" y="729"/>
                  </a:cxn>
                  <a:cxn ang="0">
                    <a:pos x="267" y="790"/>
                  </a:cxn>
                  <a:cxn ang="0">
                    <a:pos x="256" y="814"/>
                  </a:cxn>
                  <a:cxn ang="0">
                    <a:pos x="193" y="873"/>
                  </a:cxn>
                  <a:cxn ang="0">
                    <a:pos x="147" y="887"/>
                  </a:cxn>
                  <a:cxn ang="0">
                    <a:pos x="102" y="894"/>
                  </a:cxn>
                  <a:cxn ang="0">
                    <a:pos x="87" y="913"/>
                  </a:cxn>
                  <a:cxn ang="0">
                    <a:pos x="95" y="939"/>
                  </a:cxn>
                  <a:cxn ang="0">
                    <a:pos x="91" y="992"/>
                  </a:cxn>
                  <a:cxn ang="0">
                    <a:pos x="74" y="810"/>
                  </a:cxn>
                  <a:cxn ang="0">
                    <a:pos x="58" y="765"/>
                  </a:cxn>
                  <a:cxn ang="0">
                    <a:pos x="41" y="720"/>
                  </a:cxn>
                  <a:cxn ang="0">
                    <a:pos x="108" y="666"/>
                  </a:cxn>
                  <a:cxn ang="0">
                    <a:pos x="109" y="614"/>
                  </a:cxn>
                  <a:cxn ang="0">
                    <a:pos x="149" y="571"/>
                  </a:cxn>
                  <a:cxn ang="0">
                    <a:pos x="174" y="526"/>
                  </a:cxn>
                  <a:cxn ang="0">
                    <a:pos x="168" y="441"/>
                  </a:cxn>
                  <a:cxn ang="0">
                    <a:pos x="152" y="364"/>
                  </a:cxn>
                  <a:cxn ang="0">
                    <a:pos x="81" y="341"/>
                  </a:cxn>
                </a:cxnLst>
                <a:rect l="0" t="0" r="r" b="b"/>
                <a:pathLst>
                  <a:path w="599" h="993">
                    <a:moveTo>
                      <a:pt x="15" y="309"/>
                    </a:moveTo>
                    <a:lnTo>
                      <a:pt x="9" y="291"/>
                    </a:lnTo>
                    <a:lnTo>
                      <a:pt x="3" y="273"/>
                    </a:lnTo>
                    <a:lnTo>
                      <a:pt x="1" y="266"/>
                    </a:lnTo>
                    <a:lnTo>
                      <a:pt x="0" y="259"/>
                    </a:lnTo>
                    <a:lnTo>
                      <a:pt x="0" y="253"/>
                    </a:lnTo>
                    <a:lnTo>
                      <a:pt x="2" y="248"/>
                    </a:lnTo>
                    <a:lnTo>
                      <a:pt x="174" y="216"/>
                    </a:lnTo>
                    <a:lnTo>
                      <a:pt x="177" y="220"/>
                    </a:lnTo>
                    <a:lnTo>
                      <a:pt x="182" y="224"/>
                    </a:lnTo>
                    <a:lnTo>
                      <a:pt x="187" y="227"/>
                    </a:lnTo>
                    <a:lnTo>
                      <a:pt x="193" y="229"/>
                    </a:lnTo>
                    <a:lnTo>
                      <a:pt x="207" y="234"/>
                    </a:lnTo>
                    <a:lnTo>
                      <a:pt x="222" y="238"/>
                    </a:lnTo>
                    <a:lnTo>
                      <a:pt x="230" y="240"/>
                    </a:lnTo>
                    <a:lnTo>
                      <a:pt x="237" y="242"/>
                    </a:lnTo>
                    <a:lnTo>
                      <a:pt x="243" y="245"/>
                    </a:lnTo>
                    <a:lnTo>
                      <a:pt x="249" y="249"/>
                    </a:lnTo>
                    <a:lnTo>
                      <a:pt x="253" y="253"/>
                    </a:lnTo>
                    <a:lnTo>
                      <a:pt x="258" y="258"/>
                    </a:lnTo>
                    <a:lnTo>
                      <a:pt x="260" y="264"/>
                    </a:lnTo>
                    <a:lnTo>
                      <a:pt x="261" y="272"/>
                    </a:lnTo>
                    <a:lnTo>
                      <a:pt x="260" y="280"/>
                    </a:lnTo>
                    <a:lnTo>
                      <a:pt x="256" y="289"/>
                    </a:lnTo>
                    <a:lnTo>
                      <a:pt x="252" y="296"/>
                    </a:lnTo>
                    <a:lnTo>
                      <a:pt x="248" y="302"/>
                    </a:lnTo>
                    <a:lnTo>
                      <a:pt x="242" y="308"/>
                    </a:lnTo>
                    <a:lnTo>
                      <a:pt x="238" y="314"/>
                    </a:lnTo>
                    <a:lnTo>
                      <a:pt x="236" y="321"/>
                    </a:lnTo>
                    <a:lnTo>
                      <a:pt x="234" y="327"/>
                    </a:lnTo>
                    <a:lnTo>
                      <a:pt x="234" y="333"/>
                    </a:lnTo>
                    <a:lnTo>
                      <a:pt x="236" y="338"/>
                    </a:lnTo>
                    <a:lnTo>
                      <a:pt x="238" y="344"/>
                    </a:lnTo>
                    <a:lnTo>
                      <a:pt x="241" y="349"/>
                    </a:lnTo>
                    <a:lnTo>
                      <a:pt x="250" y="357"/>
                    </a:lnTo>
                    <a:lnTo>
                      <a:pt x="259" y="365"/>
                    </a:lnTo>
                    <a:lnTo>
                      <a:pt x="278" y="378"/>
                    </a:lnTo>
                    <a:lnTo>
                      <a:pt x="294" y="389"/>
                    </a:lnTo>
                    <a:lnTo>
                      <a:pt x="294" y="376"/>
                    </a:lnTo>
                    <a:lnTo>
                      <a:pt x="294" y="365"/>
                    </a:lnTo>
                    <a:lnTo>
                      <a:pt x="294" y="356"/>
                    </a:lnTo>
                    <a:lnTo>
                      <a:pt x="294" y="346"/>
                    </a:lnTo>
                    <a:lnTo>
                      <a:pt x="305" y="346"/>
                    </a:lnTo>
                    <a:lnTo>
                      <a:pt x="315" y="343"/>
                    </a:lnTo>
                    <a:lnTo>
                      <a:pt x="319" y="340"/>
                    </a:lnTo>
                    <a:lnTo>
                      <a:pt x="323" y="338"/>
                    </a:lnTo>
                    <a:lnTo>
                      <a:pt x="327" y="335"/>
                    </a:lnTo>
                    <a:lnTo>
                      <a:pt x="329" y="332"/>
                    </a:lnTo>
                    <a:lnTo>
                      <a:pt x="334" y="326"/>
                    </a:lnTo>
                    <a:lnTo>
                      <a:pt x="338" y="317"/>
                    </a:lnTo>
                    <a:lnTo>
                      <a:pt x="340" y="308"/>
                    </a:lnTo>
                    <a:lnTo>
                      <a:pt x="340" y="297"/>
                    </a:lnTo>
                    <a:lnTo>
                      <a:pt x="339" y="283"/>
                    </a:lnTo>
                    <a:lnTo>
                      <a:pt x="337" y="272"/>
                    </a:lnTo>
                    <a:lnTo>
                      <a:pt x="332" y="261"/>
                    </a:lnTo>
                    <a:lnTo>
                      <a:pt x="327" y="251"/>
                    </a:lnTo>
                    <a:lnTo>
                      <a:pt x="322" y="240"/>
                    </a:lnTo>
                    <a:lnTo>
                      <a:pt x="318" y="229"/>
                    </a:lnTo>
                    <a:lnTo>
                      <a:pt x="315" y="217"/>
                    </a:lnTo>
                    <a:lnTo>
                      <a:pt x="314" y="204"/>
                    </a:lnTo>
                    <a:lnTo>
                      <a:pt x="309" y="202"/>
                    </a:lnTo>
                    <a:lnTo>
                      <a:pt x="301" y="194"/>
                    </a:lnTo>
                    <a:lnTo>
                      <a:pt x="292" y="184"/>
                    </a:lnTo>
                    <a:lnTo>
                      <a:pt x="282" y="171"/>
                    </a:lnTo>
                    <a:lnTo>
                      <a:pt x="271" y="157"/>
                    </a:lnTo>
                    <a:lnTo>
                      <a:pt x="262" y="144"/>
                    </a:lnTo>
                    <a:lnTo>
                      <a:pt x="259" y="139"/>
                    </a:lnTo>
                    <a:lnTo>
                      <a:pt x="256" y="133"/>
                    </a:lnTo>
                    <a:lnTo>
                      <a:pt x="254" y="128"/>
                    </a:lnTo>
                    <a:lnTo>
                      <a:pt x="254" y="125"/>
                    </a:lnTo>
                    <a:lnTo>
                      <a:pt x="255" y="110"/>
                    </a:lnTo>
                    <a:lnTo>
                      <a:pt x="259" y="90"/>
                    </a:lnTo>
                    <a:lnTo>
                      <a:pt x="262" y="80"/>
                    </a:lnTo>
                    <a:lnTo>
                      <a:pt x="265" y="71"/>
                    </a:lnTo>
                    <a:lnTo>
                      <a:pt x="270" y="62"/>
                    </a:lnTo>
                    <a:lnTo>
                      <a:pt x="274" y="56"/>
                    </a:lnTo>
                    <a:lnTo>
                      <a:pt x="286" y="57"/>
                    </a:lnTo>
                    <a:lnTo>
                      <a:pt x="298" y="58"/>
                    </a:lnTo>
                    <a:lnTo>
                      <a:pt x="309" y="57"/>
                    </a:lnTo>
                    <a:lnTo>
                      <a:pt x="320" y="55"/>
                    </a:lnTo>
                    <a:lnTo>
                      <a:pt x="343" y="52"/>
                    </a:lnTo>
                    <a:lnTo>
                      <a:pt x="367" y="50"/>
                    </a:lnTo>
                    <a:lnTo>
                      <a:pt x="378" y="52"/>
                    </a:lnTo>
                    <a:lnTo>
                      <a:pt x="398" y="56"/>
                    </a:lnTo>
                    <a:lnTo>
                      <a:pt x="418" y="60"/>
                    </a:lnTo>
                    <a:lnTo>
                      <a:pt x="433" y="62"/>
                    </a:lnTo>
                    <a:lnTo>
                      <a:pt x="445" y="60"/>
                    </a:lnTo>
                    <a:lnTo>
                      <a:pt x="466" y="54"/>
                    </a:lnTo>
                    <a:lnTo>
                      <a:pt x="493" y="46"/>
                    </a:lnTo>
                    <a:lnTo>
                      <a:pt x="521" y="36"/>
                    </a:lnTo>
                    <a:lnTo>
                      <a:pt x="550" y="26"/>
                    </a:lnTo>
                    <a:lnTo>
                      <a:pt x="574" y="16"/>
                    </a:lnTo>
                    <a:lnTo>
                      <a:pt x="584" y="12"/>
                    </a:lnTo>
                    <a:lnTo>
                      <a:pt x="591" y="7"/>
                    </a:lnTo>
                    <a:lnTo>
                      <a:pt x="597" y="3"/>
                    </a:lnTo>
                    <a:lnTo>
                      <a:pt x="599" y="0"/>
                    </a:lnTo>
                    <a:lnTo>
                      <a:pt x="598" y="12"/>
                    </a:lnTo>
                    <a:lnTo>
                      <a:pt x="597" y="20"/>
                    </a:lnTo>
                    <a:lnTo>
                      <a:pt x="597" y="25"/>
                    </a:lnTo>
                    <a:lnTo>
                      <a:pt x="597" y="30"/>
                    </a:lnTo>
                    <a:lnTo>
                      <a:pt x="598" y="36"/>
                    </a:lnTo>
                    <a:lnTo>
                      <a:pt x="599" y="44"/>
                    </a:lnTo>
                    <a:lnTo>
                      <a:pt x="599" y="76"/>
                    </a:lnTo>
                    <a:lnTo>
                      <a:pt x="598" y="102"/>
                    </a:lnTo>
                    <a:lnTo>
                      <a:pt x="597" y="126"/>
                    </a:lnTo>
                    <a:lnTo>
                      <a:pt x="596" y="146"/>
                    </a:lnTo>
                    <a:lnTo>
                      <a:pt x="595" y="165"/>
                    </a:lnTo>
                    <a:lnTo>
                      <a:pt x="594" y="185"/>
                    </a:lnTo>
                    <a:lnTo>
                      <a:pt x="592" y="205"/>
                    </a:lnTo>
                    <a:lnTo>
                      <a:pt x="592" y="228"/>
                    </a:lnTo>
                    <a:lnTo>
                      <a:pt x="592" y="239"/>
                    </a:lnTo>
                    <a:lnTo>
                      <a:pt x="591" y="249"/>
                    </a:lnTo>
                    <a:lnTo>
                      <a:pt x="589" y="258"/>
                    </a:lnTo>
                    <a:lnTo>
                      <a:pt x="587" y="267"/>
                    </a:lnTo>
                    <a:lnTo>
                      <a:pt x="585" y="276"/>
                    </a:lnTo>
                    <a:lnTo>
                      <a:pt x="581" y="285"/>
                    </a:lnTo>
                    <a:lnTo>
                      <a:pt x="577" y="295"/>
                    </a:lnTo>
                    <a:lnTo>
                      <a:pt x="573" y="304"/>
                    </a:lnTo>
                    <a:lnTo>
                      <a:pt x="562" y="321"/>
                    </a:lnTo>
                    <a:lnTo>
                      <a:pt x="550" y="337"/>
                    </a:lnTo>
                    <a:lnTo>
                      <a:pt x="535" y="353"/>
                    </a:lnTo>
                    <a:lnTo>
                      <a:pt x="520" y="367"/>
                    </a:lnTo>
                    <a:lnTo>
                      <a:pt x="503" y="379"/>
                    </a:lnTo>
                    <a:lnTo>
                      <a:pt x="487" y="391"/>
                    </a:lnTo>
                    <a:lnTo>
                      <a:pt x="468" y="402"/>
                    </a:lnTo>
                    <a:lnTo>
                      <a:pt x="450" y="410"/>
                    </a:lnTo>
                    <a:lnTo>
                      <a:pt x="431" y="417"/>
                    </a:lnTo>
                    <a:lnTo>
                      <a:pt x="411" y="422"/>
                    </a:lnTo>
                    <a:lnTo>
                      <a:pt x="393" y="425"/>
                    </a:lnTo>
                    <a:lnTo>
                      <a:pt x="374" y="426"/>
                    </a:lnTo>
                    <a:lnTo>
                      <a:pt x="372" y="433"/>
                    </a:lnTo>
                    <a:lnTo>
                      <a:pt x="368" y="440"/>
                    </a:lnTo>
                    <a:lnTo>
                      <a:pt x="365" y="446"/>
                    </a:lnTo>
                    <a:lnTo>
                      <a:pt x="362" y="452"/>
                    </a:lnTo>
                    <a:lnTo>
                      <a:pt x="353" y="464"/>
                    </a:lnTo>
                    <a:lnTo>
                      <a:pt x="342" y="474"/>
                    </a:lnTo>
                    <a:lnTo>
                      <a:pt x="331" y="483"/>
                    </a:lnTo>
                    <a:lnTo>
                      <a:pt x="318" y="491"/>
                    </a:lnTo>
                    <a:lnTo>
                      <a:pt x="306" y="499"/>
                    </a:lnTo>
                    <a:lnTo>
                      <a:pt x="293" y="507"/>
                    </a:lnTo>
                    <a:lnTo>
                      <a:pt x="281" y="516"/>
                    </a:lnTo>
                    <a:lnTo>
                      <a:pt x="269" y="525"/>
                    </a:lnTo>
                    <a:lnTo>
                      <a:pt x="258" y="534"/>
                    </a:lnTo>
                    <a:lnTo>
                      <a:pt x="248" y="544"/>
                    </a:lnTo>
                    <a:lnTo>
                      <a:pt x="243" y="549"/>
                    </a:lnTo>
                    <a:lnTo>
                      <a:pt x="239" y="555"/>
                    </a:lnTo>
                    <a:lnTo>
                      <a:pt x="236" y="561"/>
                    </a:lnTo>
                    <a:lnTo>
                      <a:pt x="232" y="568"/>
                    </a:lnTo>
                    <a:lnTo>
                      <a:pt x="230" y="575"/>
                    </a:lnTo>
                    <a:lnTo>
                      <a:pt x="229" y="582"/>
                    </a:lnTo>
                    <a:lnTo>
                      <a:pt x="228" y="590"/>
                    </a:lnTo>
                    <a:lnTo>
                      <a:pt x="227" y="598"/>
                    </a:lnTo>
                    <a:lnTo>
                      <a:pt x="228" y="604"/>
                    </a:lnTo>
                    <a:lnTo>
                      <a:pt x="231" y="611"/>
                    </a:lnTo>
                    <a:lnTo>
                      <a:pt x="237" y="619"/>
                    </a:lnTo>
                    <a:lnTo>
                      <a:pt x="242" y="629"/>
                    </a:lnTo>
                    <a:lnTo>
                      <a:pt x="249" y="637"/>
                    </a:lnTo>
                    <a:lnTo>
                      <a:pt x="255" y="645"/>
                    </a:lnTo>
                    <a:lnTo>
                      <a:pt x="262" y="650"/>
                    </a:lnTo>
                    <a:lnTo>
                      <a:pt x="267" y="654"/>
                    </a:lnTo>
                    <a:lnTo>
                      <a:pt x="262" y="663"/>
                    </a:lnTo>
                    <a:lnTo>
                      <a:pt x="258" y="671"/>
                    </a:lnTo>
                    <a:lnTo>
                      <a:pt x="255" y="680"/>
                    </a:lnTo>
                    <a:lnTo>
                      <a:pt x="254" y="685"/>
                    </a:lnTo>
                    <a:lnTo>
                      <a:pt x="254" y="694"/>
                    </a:lnTo>
                    <a:lnTo>
                      <a:pt x="256" y="701"/>
                    </a:lnTo>
                    <a:lnTo>
                      <a:pt x="258" y="709"/>
                    </a:lnTo>
                    <a:lnTo>
                      <a:pt x="261" y="715"/>
                    </a:lnTo>
                    <a:lnTo>
                      <a:pt x="263" y="722"/>
                    </a:lnTo>
                    <a:lnTo>
                      <a:pt x="265" y="729"/>
                    </a:lnTo>
                    <a:lnTo>
                      <a:pt x="266" y="738"/>
                    </a:lnTo>
                    <a:lnTo>
                      <a:pt x="267" y="747"/>
                    </a:lnTo>
                    <a:lnTo>
                      <a:pt x="267" y="766"/>
                    </a:lnTo>
                    <a:lnTo>
                      <a:pt x="267" y="780"/>
                    </a:lnTo>
                    <a:lnTo>
                      <a:pt x="267" y="790"/>
                    </a:lnTo>
                    <a:lnTo>
                      <a:pt x="267" y="796"/>
                    </a:lnTo>
                    <a:lnTo>
                      <a:pt x="266" y="799"/>
                    </a:lnTo>
                    <a:lnTo>
                      <a:pt x="264" y="803"/>
                    </a:lnTo>
                    <a:lnTo>
                      <a:pt x="261" y="808"/>
                    </a:lnTo>
                    <a:lnTo>
                      <a:pt x="256" y="814"/>
                    </a:lnTo>
                    <a:lnTo>
                      <a:pt x="244" y="827"/>
                    </a:lnTo>
                    <a:lnTo>
                      <a:pt x="230" y="841"/>
                    </a:lnTo>
                    <a:lnTo>
                      <a:pt x="215" y="856"/>
                    </a:lnTo>
                    <a:lnTo>
                      <a:pt x="200" y="868"/>
                    </a:lnTo>
                    <a:lnTo>
                      <a:pt x="193" y="873"/>
                    </a:lnTo>
                    <a:lnTo>
                      <a:pt x="186" y="877"/>
                    </a:lnTo>
                    <a:lnTo>
                      <a:pt x="180" y="880"/>
                    </a:lnTo>
                    <a:lnTo>
                      <a:pt x="174" y="882"/>
                    </a:lnTo>
                    <a:lnTo>
                      <a:pt x="161" y="885"/>
                    </a:lnTo>
                    <a:lnTo>
                      <a:pt x="147" y="887"/>
                    </a:lnTo>
                    <a:lnTo>
                      <a:pt x="132" y="889"/>
                    </a:lnTo>
                    <a:lnTo>
                      <a:pt x="118" y="890"/>
                    </a:lnTo>
                    <a:lnTo>
                      <a:pt x="113" y="891"/>
                    </a:lnTo>
                    <a:lnTo>
                      <a:pt x="106" y="892"/>
                    </a:lnTo>
                    <a:lnTo>
                      <a:pt x="102" y="894"/>
                    </a:lnTo>
                    <a:lnTo>
                      <a:pt x="96" y="896"/>
                    </a:lnTo>
                    <a:lnTo>
                      <a:pt x="93" y="900"/>
                    </a:lnTo>
                    <a:lnTo>
                      <a:pt x="91" y="904"/>
                    </a:lnTo>
                    <a:lnTo>
                      <a:pt x="88" y="908"/>
                    </a:lnTo>
                    <a:lnTo>
                      <a:pt x="87" y="913"/>
                    </a:lnTo>
                    <a:lnTo>
                      <a:pt x="88" y="920"/>
                    </a:lnTo>
                    <a:lnTo>
                      <a:pt x="90" y="925"/>
                    </a:lnTo>
                    <a:lnTo>
                      <a:pt x="91" y="931"/>
                    </a:lnTo>
                    <a:lnTo>
                      <a:pt x="93" y="935"/>
                    </a:lnTo>
                    <a:lnTo>
                      <a:pt x="95" y="939"/>
                    </a:lnTo>
                    <a:lnTo>
                      <a:pt x="99" y="941"/>
                    </a:lnTo>
                    <a:lnTo>
                      <a:pt x="103" y="943"/>
                    </a:lnTo>
                    <a:lnTo>
                      <a:pt x="108" y="943"/>
                    </a:lnTo>
                    <a:lnTo>
                      <a:pt x="94" y="993"/>
                    </a:lnTo>
                    <a:lnTo>
                      <a:pt x="91" y="992"/>
                    </a:lnTo>
                    <a:lnTo>
                      <a:pt x="82" y="990"/>
                    </a:lnTo>
                    <a:lnTo>
                      <a:pt x="75" y="988"/>
                    </a:lnTo>
                    <a:lnTo>
                      <a:pt x="74" y="987"/>
                    </a:lnTo>
                    <a:lnTo>
                      <a:pt x="74" y="820"/>
                    </a:lnTo>
                    <a:lnTo>
                      <a:pt x="74" y="810"/>
                    </a:lnTo>
                    <a:lnTo>
                      <a:pt x="73" y="801"/>
                    </a:lnTo>
                    <a:lnTo>
                      <a:pt x="71" y="793"/>
                    </a:lnTo>
                    <a:lnTo>
                      <a:pt x="70" y="785"/>
                    </a:lnTo>
                    <a:lnTo>
                      <a:pt x="64" y="774"/>
                    </a:lnTo>
                    <a:lnTo>
                      <a:pt x="58" y="765"/>
                    </a:lnTo>
                    <a:lnTo>
                      <a:pt x="52" y="755"/>
                    </a:lnTo>
                    <a:lnTo>
                      <a:pt x="47" y="744"/>
                    </a:lnTo>
                    <a:lnTo>
                      <a:pt x="45" y="738"/>
                    </a:lnTo>
                    <a:lnTo>
                      <a:pt x="42" y="729"/>
                    </a:lnTo>
                    <a:lnTo>
                      <a:pt x="41" y="720"/>
                    </a:lnTo>
                    <a:lnTo>
                      <a:pt x="41" y="709"/>
                    </a:lnTo>
                    <a:lnTo>
                      <a:pt x="51" y="704"/>
                    </a:lnTo>
                    <a:lnTo>
                      <a:pt x="72" y="690"/>
                    </a:lnTo>
                    <a:lnTo>
                      <a:pt x="95" y="675"/>
                    </a:lnTo>
                    <a:lnTo>
                      <a:pt x="108" y="666"/>
                    </a:lnTo>
                    <a:lnTo>
                      <a:pt x="107" y="653"/>
                    </a:lnTo>
                    <a:lnTo>
                      <a:pt x="106" y="636"/>
                    </a:lnTo>
                    <a:lnTo>
                      <a:pt x="106" y="627"/>
                    </a:lnTo>
                    <a:lnTo>
                      <a:pt x="108" y="617"/>
                    </a:lnTo>
                    <a:lnTo>
                      <a:pt x="109" y="614"/>
                    </a:lnTo>
                    <a:lnTo>
                      <a:pt x="110" y="610"/>
                    </a:lnTo>
                    <a:lnTo>
                      <a:pt x="113" y="607"/>
                    </a:lnTo>
                    <a:lnTo>
                      <a:pt x="115" y="604"/>
                    </a:lnTo>
                    <a:lnTo>
                      <a:pt x="129" y="591"/>
                    </a:lnTo>
                    <a:lnTo>
                      <a:pt x="149" y="571"/>
                    </a:lnTo>
                    <a:lnTo>
                      <a:pt x="159" y="558"/>
                    </a:lnTo>
                    <a:lnTo>
                      <a:pt x="166" y="546"/>
                    </a:lnTo>
                    <a:lnTo>
                      <a:pt x="170" y="539"/>
                    </a:lnTo>
                    <a:lnTo>
                      <a:pt x="172" y="532"/>
                    </a:lnTo>
                    <a:lnTo>
                      <a:pt x="174" y="526"/>
                    </a:lnTo>
                    <a:lnTo>
                      <a:pt x="174" y="519"/>
                    </a:lnTo>
                    <a:lnTo>
                      <a:pt x="174" y="498"/>
                    </a:lnTo>
                    <a:lnTo>
                      <a:pt x="172" y="479"/>
                    </a:lnTo>
                    <a:lnTo>
                      <a:pt x="170" y="460"/>
                    </a:lnTo>
                    <a:lnTo>
                      <a:pt x="168" y="441"/>
                    </a:lnTo>
                    <a:lnTo>
                      <a:pt x="165" y="423"/>
                    </a:lnTo>
                    <a:lnTo>
                      <a:pt x="163" y="404"/>
                    </a:lnTo>
                    <a:lnTo>
                      <a:pt x="161" y="384"/>
                    </a:lnTo>
                    <a:lnTo>
                      <a:pt x="161" y="364"/>
                    </a:lnTo>
                    <a:lnTo>
                      <a:pt x="152" y="364"/>
                    </a:lnTo>
                    <a:lnTo>
                      <a:pt x="142" y="363"/>
                    </a:lnTo>
                    <a:lnTo>
                      <a:pt x="132" y="361"/>
                    </a:lnTo>
                    <a:lnTo>
                      <a:pt x="122" y="358"/>
                    </a:lnTo>
                    <a:lnTo>
                      <a:pt x="102" y="350"/>
                    </a:lnTo>
                    <a:lnTo>
                      <a:pt x="81" y="341"/>
                    </a:lnTo>
                    <a:lnTo>
                      <a:pt x="42" y="323"/>
                    </a:lnTo>
                    <a:lnTo>
                      <a:pt x="15" y="309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25" name="Freeform 252"/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374723" y="4881405"/>
                <a:ext cx="500986" cy="511124"/>
              </a:xfrm>
              <a:custGeom>
                <a:avLst/>
                <a:gdLst/>
                <a:ahLst/>
                <a:cxnLst>
                  <a:cxn ang="0">
                    <a:pos x="30" y="428"/>
                  </a:cxn>
                  <a:cxn ang="0">
                    <a:pos x="46" y="454"/>
                  </a:cxn>
                  <a:cxn ang="0">
                    <a:pos x="46" y="512"/>
                  </a:cxn>
                  <a:cxn ang="0">
                    <a:pos x="48" y="527"/>
                  </a:cxn>
                  <a:cxn ang="0">
                    <a:pos x="55" y="537"/>
                  </a:cxn>
                  <a:cxn ang="0">
                    <a:pos x="68" y="545"/>
                  </a:cxn>
                  <a:cxn ang="0">
                    <a:pos x="100" y="549"/>
                  </a:cxn>
                  <a:cxn ang="0">
                    <a:pos x="113" y="546"/>
                  </a:cxn>
                  <a:cxn ang="0">
                    <a:pos x="130" y="533"/>
                  </a:cxn>
                  <a:cxn ang="0">
                    <a:pos x="143" y="507"/>
                  </a:cxn>
                  <a:cxn ang="0">
                    <a:pos x="154" y="477"/>
                  </a:cxn>
                  <a:cxn ang="0">
                    <a:pos x="169" y="454"/>
                  </a:cxn>
                  <a:cxn ang="0">
                    <a:pos x="183" y="445"/>
                  </a:cxn>
                  <a:cxn ang="0">
                    <a:pos x="201" y="444"/>
                  </a:cxn>
                  <a:cxn ang="0">
                    <a:pos x="222" y="448"/>
                  </a:cxn>
                  <a:cxn ang="0">
                    <a:pos x="252" y="461"/>
                  </a:cxn>
                  <a:cxn ang="0">
                    <a:pos x="272" y="468"/>
                  </a:cxn>
                  <a:cxn ang="0">
                    <a:pos x="297" y="469"/>
                  </a:cxn>
                  <a:cxn ang="0">
                    <a:pos x="319" y="464"/>
                  </a:cxn>
                  <a:cxn ang="0">
                    <a:pos x="332" y="453"/>
                  </a:cxn>
                  <a:cxn ang="0">
                    <a:pos x="359" y="388"/>
                  </a:cxn>
                  <a:cxn ang="0">
                    <a:pos x="382" y="363"/>
                  </a:cxn>
                  <a:cxn ang="0">
                    <a:pos x="447" y="314"/>
                  </a:cxn>
                  <a:cxn ang="0">
                    <a:pos x="527" y="264"/>
                  </a:cxn>
                  <a:cxn ang="0">
                    <a:pos x="528" y="232"/>
                  </a:cxn>
                  <a:cxn ang="0">
                    <a:pos x="503" y="218"/>
                  </a:cxn>
                  <a:cxn ang="0">
                    <a:pos x="485" y="199"/>
                  </a:cxn>
                  <a:cxn ang="0">
                    <a:pos x="460" y="157"/>
                  </a:cxn>
                  <a:cxn ang="0">
                    <a:pos x="440" y="132"/>
                  </a:cxn>
                  <a:cxn ang="0">
                    <a:pos x="377" y="76"/>
                  </a:cxn>
                  <a:cxn ang="0">
                    <a:pos x="359" y="53"/>
                  </a:cxn>
                  <a:cxn ang="0">
                    <a:pos x="348" y="24"/>
                  </a:cxn>
                  <a:cxn ang="0">
                    <a:pos x="319" y="0"/>
                  </a:cxn>
                  <a:cxn ang="0">
                    <a:pos x="244" y="2"/>
                  </a:cxn>
                  <a:cxn ang="0">
                    <a:pos x="176" y="13"/>
                  </a:cxn>
                  <a:cxn ang="0">
                    <a:pos x="95" y="22"/>
                  </a:cxn>
                  <a:cxn ang="0">
                    <a:pos x="71" y="27"/>
                  </a:cxn>
                  <a:cxn ang="0">
                    <a:pos x="67" y="38"/>
                  </a:cxn>
                  <a:cxn ang="0">
                    <a:pos x="73" y="56"/>
                  </a:cxn>
                  <a:cxn ang="0">
                    <a:pos x="84" y="74"/>
                  </a:cxn>
                  <a:cxn ang="0">
                    <a:pos x="86" y="107"/>
                  </a:cxn>
                  <a:cxn ang="0">
                    <a:pos x="74" y="171"/>
                  </a:cxn>
                  <a:cxn ang="0">
                    <a:pos x="62" y="237"/>
                  </a:cxn>
                  <a:cxn ang="0">
                    <a:pos x="47" y="263"/>
                  </a:cxn>
                  <a:cxn ang="0">
                    <a:pos x="26" y="277"/>
                  </a:cxn>
                  <a:cxn ang="0">
                    <a:pos x="5" y="307"/>
                  </a:cxn>
                  <a:cxn ang="0">
                    <a:pos x="1" y="339"/>
                  </a:cxn>
                  <a:cxn ang="0">
                    <a:pos x="8" y="367"/>
                  </a:cxn>
                  <a:cxn ang="0">
                    <a:pos x="8" y="391"/>
                  </a:cxn>
                  <a:cxn ang="0">
                    <a:pos x="0" y="408"/>
                  </a:cxn>
                </a:cxnLst>
                <a:rect l="0" t="0" r="r" b="b"/>
                <a:pathLst>
                  <a:path w="545" h="549">
                    <a:moveTo>
                      <a:pt x="13" y="420"/>
                    </a:moveTo>
                    <a:lnTo>
                      <a:pt x="21" y="424"/>
                    </a:lnTo>
                    <a:lnTo>
                      <a:pt x="30" y="428"/>
                    </a:lnTo>
                    <a:lnTo>
                      <a:pt x="40" y="431"/>
                    </a:lnTo>
                    <a:lnTo>
                      <a:pt x="46" y="432"/>
                    </a:lnTo>
                    <a:lnTo>
                      <a:pt x="46" y="454"/>
                    </a:lnTo>
                    <a:lnTo>
                      <a:pt x="46" y="472"/>
                    </a:lnTo>
                    <a:lnTo>
                      <a:pt x="46" y="491"/>
                    </a:lnTo>
                    <a:lnTo>
                      <a:pt x="46" y="512"/>
                    </a:lnTo>
                    <a:lnTo>
                      <a:pt x="47" y="518"/>
                    </a:lnTo>
                    <a:lnTo>
                      <a:pt x="47" y="523"/>
                    </a:lnTo>
                    <a:lnTo>
                      <a:pt x="48" y="527"/>
                    </a:lnTo>
                    <a:lnTo>
                      <a:pt x="51" y="531"/>
                    </a:lnTo>
                    <a:lnTo>
                      <a:pt x="53" y="534"/>
                    </a:lnTo>
                    <a:lnTo>
                      <a:pt x="55" y="537"/>
                    </a:lnTo>
                    <a:lnTo>
                      <a:pt x="57" y="540"/>
                    </a:lnTo>
                    <a:lnTo>
                      <a:pt x="61" y="542"/>
                    </a:lnTo>
                    <a:lnTo>
                      <a:pt x="68" y="545"/>
                    </a:lnTo>
                    <a:lnTo>
                      <a:pt x="77" y="547"/>
                    </a:lnTo>
                    <a:lnTo>
                      <a:pt x="88" y="548"/>
                    </a:lnTo>
                    <a:lnTo>
                      <a:pt x="100" y="549"/>
                    </a:lnTo>
                    <a:lnTo>
                      <a:pt x="104" y="548"/>
                    </a:lnTo>
                    <a:lnTo>
                      <a:pt x="109" y="548"/>
                    </a:lnTo>
                    <a:lnTo>
                      <a:pt x="113" y="546"/>
                    </a:lnTo>
                    <a:lnTo>
                      <a:pt x="117" y="544"/>
                    </a:lnTo>
                    <a:lnTo>
                      <a:pt x="123" y="539"/>
                    </a:lnTo>
                    <a:lnTo>
                      <a:pt x="130" y="533"/>
                    </a:lnTo>
                    <a:lnTo>
                      <a:pt x="134" y="525"/>
                    </a:lnTo>
                    <a:lnTo>
                      <a:pt x="138" y="516"/>
                    </a:lnTo>
                    <a:lnTo>
                      <a:pt x="143" y="507"/>
                    </a:lnTo>
                    <a:lnTo>
                      <a:pt x="146" y="496"/>
                    </a:lnTo>
                    <a:lnTo>
                      <a:pt x="151" y="487"/>
                    </a:lnTo>
                    <a:lnTo>
                      <a:pt x="154" y="477"/>
                    </a:lnTo>
                    <a:lnTo>
                      <a:pt x="158" y="469"/>
                    </a:lnTo>
                    <a:lnTo>
                      <a:pt x="164" y="461"/>
                    </a:lnTo>
                    <a:lnTo>
                      <a:pt x="169" y="454"/>
                    </a:lnTo>
                    <a:lnTo>
                      <a:pt x="176" y="448"/>
                    </a:lnTo>
                    <a:lnTo>
                      <a:pt x="179" y="446"/>
                    </a:lnTo>
                    <a:lnTo>
                      <a:pt x="183" y="445"/>
                    </a:lnTo>
                    <a:lnTo>
                      <a:pt x="188" y="444"/>
                    </a:lnTo>
                    <a:lnTo>
                      <a:pt x="193" y="444"/>
                    </a:lnTo>
                    <a:lnTo>
                      <a:pt x="201" y="444"/>
                    </a:lnTo>
                    <a:lnTo>
                      <a:pt x="209" y="445"/>
                    </a:lnTo>
                    <a:lnTo>
                      <a:pt x="215" y="446"/>
                    </a:lnTo>
                    <a:lnTo>
                      <a:pt x="222" y="448"/>
                    </a:lnTo>
                    <a:lnTo>
                      <a:pt x="232" y="453"/>
                    </a:lnTo>
                    <a:lnTo>
                      <a:pt x="242" y="457"/>
                    </a:lnTo>
                    <a:lnTo>
                      <a:pt x="252" y="461"/>
                    </a:lnTo>
                    <a:lnTo>
                      <a:pt x="261" y="465"/>
                    </a:lnTo>
                    <a:lnTo>
                      <a:pt x="267" y="467"/>
                    </a:lnTo>
                    <a:lnTo>
                      <a:pt x="272" y="468"/>
                    </a:lnTo>
                    <a:lnTo>
                      <a:pt x="279" y="469"/>
                    </a:lnTo>
                    <a:lnTo>
                      <a:pt x="286" y="469"/>
                    </a:lnTo>
                    <a:lnTo>
                      <a:pt x="297" y="469"/>
                    </a:lnTo>
                    <a:lnTo>
                      <a:pt x="305" y="468"/>
                    </a:lnTo>
                    <a:lnTo>
                      <a:pt x="313" y="466"/>
                    </a:lnTo>
                    <a:lnTo>
                      <a:pt x="319" y="464"/>
                    </a:lnTo>
                    <a:lnTo>
                      <a:pt x="324" y="461"/>
                    </a:lnTo>
                    <a:lnTo>
                      <a:pt x="328" y="457"/>
                    </a:lnTo>
                    <a:lnTo>
                      <a:pt x="332" y="453"/>
                    </a:lnTo>
                    <a:lnTo>
                      <a:pt x="335" y="447"/>
                    </a:lnTo>
                    <a:lnTo>
                      <a:pt x="345" y="422"/>
                    </a:lnTo>
                    <a:lnTo>
                      <a:pt x="359" y="388"/>
                    </a:lnTo>
                    <a:lnTo>
                      <a:pt x="365" y="380"/>
                    </a:lnTo>
                    <a:lnTo>
                      <a:pt x="373" y="372"/>
                    </a:lnTo>
                    <a:lnTo>
                      <a:pt x="382" y="363"/>
                    </a:lnTo>
                    <a:lnTo>
                      <a:pt x="393" y="353"/>
                    </a:lnTo>
                    <a:lnTo>
                      <a:pt x="418" y="333"/>
                    </a:lnTo>
                    <a:lnTo>
                      <a:pt x="447" y="314"/>
                    </a:lnTo>
                    <a:lnTo>
                      <a:pt x="476" y="296"/>
                    </a:lnTo>
                    <a:lnTo>
                      <a:pt x="503" y="278"/>
                    </a:lnTo>
                    <a:lnTo>
                      <a:pt x="527" y="264"/>
                    </a:lnTo>
                    <a:lnTo>
                      <a:pt x="545" y="253"/>
                    </a:lnTo>
                    <a:lnTo>
                      <a:pt x="538" y="235"/>
                    </a:lnTo>
                    <a:lnTo>
                      <a:pt x="528" y="232"/>
                    </a:lnTo>
                    <a:lnTo>
                      <a:pt x="518" y="229"/>
                    </a:lnTo>
                    <a:lnTo>
                      <a:pt x="511" y="223"/>
                    </a:lnTo>
                    <a:lnTo>
                      <a:pt x="503" y="218"/>
                    </a:lnTo>
                    <a:lnTo>
                      <a:pt x="496" y="212"/>
                    </a:lnTo>
                    <a:lnTo>
                      <a:pt x="491" y="206"/>
                    </a:lnTo>
                    <a:lnTo>
                      <a:pt x="485" y="199"/>
                    </a:lnTo>
                    <a:lnTo>
                      <a:pt x="480" y="191"/>
                    </a:lnTo>
                    <a:lnTo>
                      <a:pt x="470" y="175"/>
                    </a:lnTo>
                    <a:lnTo>
                      <a:pt x="460" y="157"/>
                    </a:lnTo>
                    <a:lnTo>
                      <a:pt x="454" y="149"/>
                    </a:lnTo>
                    <a:lnTo>
                      <a:pt x="447" y="141"/>
                    </a:lnTo>
                    <a:lnTo>
                      <a:pt x="440" y="132"/>
                    </a:lnTo>
                    <a:lnTo>
                      <a:pt x="432" y="124"/>
                    </a:lnTo>
                    <a:lnTo>
                      <a:pt x="404" y="101"/>
                    </a:lnTo>
                    <a:lnTo>
                      <a:pt x="377" y="76"/>
                    </a:lnTo>
                    <a:lnTo>
                      <a:pt x="370" y="69"/>
                    </a:lnTo>
                    <a:lnTo>
                      <a:pt x="365" y="62"/>
                    </a:lnTo>
                    <a:lnTo>
                      <a:pt x="359" y="53"/>
                    </a:lnTo>
                    <a:lnTo>
                      <a:pt x="355" y="44"/>
                    </a:lnTo>
                    <a:lnTo>
                      <a:pt x="350" y="35"/>
                    </a:lnTo>
                    <a:lnTo>
                      <a:pt x="348" y="24"/>
                    </a:lnTo>
                    <a:lnTo>
                      <a:pt x="346" y="13"/>
                    </a:lnTo>
                    <a:lnTo>
                      <a:pt x="346" y="0"/>
                    </a:lnTo>
                    <a:lnTo>
                      <a:pt x="319" y="0"/>
                    </a:lnTo>
                    <a:lnTo>
                      <a:pt x="293" y="0"/>
                    </a:lnTo>
                    <a:lnTo>
                      <a:pt x="268" y="1"/>
                    </a:lnTo>
                    <a:lnTo>
                      <a:pt x="244" y="2"/>
                    </a:lnTo>
                    <a:lnTo>
                      <a:pt x="221" y="6"/>
                    </a:lnTo>
                    <a:lnTo>
                      <a:pt x="198" y="9"/>
                    </a:lnTo>
                    <a:lnTo>
                      <a:pt x="176" y="13"/>
                    </a:lnTo>
                    <a:lnTo>
                      <a:pt x="153" y="19"/>
                    </a:lnTo>
                    <a:lnTo>
                      <a:pt x="123" y="21"/>
                    </a:lnTo>
                    <a:lnTo>
                      <a:pt x="95" y="22"/>
                    </a:lnTo>
                    <a:lnTo>
                      <a:pt x="84" y="23"/>
                    </a:lnTo>
                    <a:lnTo>
                      <a:pt x="75" y="25"/>
                    </a:lnTo>
                    <a:lnTo>
                      <a:pt x="71" y="27"/>
                    </a:lnTo>
                    <a:lnTo>
                      <a:pt x="68" y="30"/>
                    </a:lnTo>
                    <a:lnTo>
                      <a:pt x="67" y="33"/>
                    </a:lnTo>
                    <a:lnTo>
                      <a:pt x="67" y="38"/>
                    </a:lnTo>
                    <a:lnTo>
                      <a:pt x="67" y="44"/>
                    </a:lnTo>
                    <a:lnTo>
                      <a:pt x="69" y="50"/>
                    </a:lnTo>
                    <a:lnTo>
                      <a:pt x="73" y="56"/>
                    </a:lnTo>
                    <a:lnTo>
                      <a:pt x="77" y="63"/>
                    </a:lnTo>
                    <a:lnTo>
                      <a:pt x="80" y="68"/>
                    </a:lnTo>
                    <a:lnTo>
                      <a:pt x="84" y="74"/>
                    </a:lnTo>
                    <a:lnTo>
                      <a:pt x="86" y="80"/>
                    </a:lnTo>
                    <a:lnTo>
                      <a:pt x="87" y="87"/>
                    </a:lnTo>
                    <a:lnTo>
                      <a:pt x="86" y="107"/>
                    </a:lnTo>
                    <a:lnTo>
                      <a:pt x="82" y="129"/>
                    </a:lnTo>
                    <a:lnTo>
                      <a:pt x="78" y="150"/>
                    </a:lnTo>
                    <a:lnTo>
                      <a:pt x="74" y="171"/>
                    </a:lnTo>
                    <a:lnTo>
                      <a:pt x="68" y="193"/>
                    </a:lnTo>
                    <a:lnTo>
                      <a:pt x="64" y="214"/>
                    </a:lnTo>
                    <a:lnTo>
                      <a:pt x="62" y="237"/>
                    </a:lnTo>
                    <a:lnTo>
                      <a:pt x="61" y="259"/>
                    </a:lnTo>
                    <a:lnTo>
                      <a:pt x="54" y="261"/>
                    </a:lnTo>
                    <a:lnTo>
                      <a:pt x="47" y="263"/>
                    </a:lnTo>
                    <a:lnTo>
                      <a:pt x="42" y="266"/>
                    </a:lnTo>
                    <a:lnTo>
                      <a:pt x="36" y="269"/>
                    </a:lnTo>
                    <a:lnTo>
                      <a:pt x="26" y="277"/>
                    </a:lnTo>
                    <a:lnTo>
                      <a:pt x="18" y="287"/>
                    </a:lnTo>
                    <a:lnTo>
                      <a:pt x="10" y="297"/>
                    </a:lnTo>
                    <a:lnTo>
                      <a:pt x="5" y="307"/>
                    </a:lnTo>
                    <a:lnTo>
                      <a:pt x="1" y="317"/>
                    </a:lnTo>
                    <a:lnTo>
                      <a:pt x="0" y="327"/>
                    </a:lnTo>
                    <a:lnTo>
                      <a:pt x="1" y="339"/>
                    </a:lnTo>
                    <a:lnTo>
                      <a:pt x="3" y="349"/>
                    </a:lnTo>
                    <a:lnTo>
                      <a:pt x="6" y="358"/>
                    </a:lnTo>
                    <a:lnTo>
                      <a:pt x="8" y="367"/>
                    </a:lnTo>
                    <a:lnTo>
                      <a:pt x="9" y="376"/>
                    </a:lnTo>
                    <a:lnTo>
                      <a:pt x="9" y="386"/>
                    </a:lnTo>
                    <a:lnTo>
                      <a:pt x="8" y="391"/>
                    </a:lnTo>
                    <a:lnTo>
                      <a:pt x="6" y="397"/>
                    </a:lnTo>
                    <a:lnTo>
                      <a:pt x="3" y="402"/>
                    </a:lnTo>
                    <a:lnTo>
                      <a:pt x="0" y="408"/>
                    </a:lnTo>
                    <a:lnTo>
                      <a:pt x="13" y="420"/>
                    </a:lnTo>
                  </a:path>
                </a:pathLst>
              </a:custGeom>
              <a:solidFill>
                <a:schemeClr val="accent1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26" name="Freeform 253"/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5580422" y="4528423"/>
                <a:ext cx="414150" cy="773742"/>
              </a:xfrm>
              <a:custGeom>
                <a:avLst/>
                <a:gdLst/>
                <a:ahLst/>
                <a:cxnLst>
                  <a:cxn ang="0">
                    <a:pos x="112" y="261"/>
                  </a:cxn>
                  <a:cxn ang="0">
                    <a:pos x="138" y="248"/>
                  </a:cxn>
                  <a:cxn ang="0">
                    <a:pos x="165" y="240"/>
                  </a:cxn>
                  <a:cxn ang="0">
                    <a:pos x="192" y="232"/>
                  </a:cxn>
                  <a:cxn ang="0">
                    <a:pos x="215" y="217"/>
                  </a:cxn>
                  <a:cxn ang="0">
                    <a:pos x="232" y="200"/>
                  </a:cxn>
                  <a:cxn ang="0">
                    <a:pos x="232" y="179"/>
                  </a:cxn>
                  <a:cxn ang="0">
                    <a:pos x="265" y="178"/>
                  </a:cxn>
                  <a:cxn ang="0">
                    <a:pos x="282" y="173"/>
                  </a:cxn>
                  <a:cxn ang="0">
                    <a:pos x="298" y="162"/>
                  </a:cxn>
                  <a:cxn ang="0">
                    <a:pos x="320" y="133"/>
                  </a:cxn>
                  <a:cxn ang="0">
                    <a:pos x="350" y="75"/>
                  </a:cxn>
                  <a:cxn ang="0">
                    <a:pos x="378" y="0"/>
                  </a:cxn>
                  <a:cxn ang="0">
                    <a:pos x="385" y="19"/>
                  </a:cxn>
                  <a:cxn ang="0">
                    <a:pos x="407" y="47"/>
                  </a:cxn>
                  <a:cxn ang="0">
                    <a:pos x="448" y="85"/>
                  </a:cxn>
                  <a:cxn ang="0">
                    <a:pos x="440" y="103"/>
                  </a:cxn>
                  <a:cxn ang="0">
                    <a:pos x="444" y="138"/>
                  </a:cxn>
                  <a:cxn ang="0">
                    <a:pos x="452" y="185"/>
                  </a:cxn>
                  <a:cxn ang="0">
                    <a:pos x="448" y="206"/>
                  </a:cxn>
                  <a:cxn ang="0">
                    <a:pos x="428" y="234"/>
                  </a:cxn>
                  <a:cxn ang="0">
                    <a:pos x="409" y="261"/>
                  </a:cxn>
                  <a:cxn ang="0">
                    <a:pos x="405" y="283"/>
                  </a:cxn>
                  <a:cxn ang="0">
                    <a:pos x="393" y="308"/>
                  </a:cxn>
                  <a:cxn ang="0">
                    <a:pos x="383" y="318"/>
                  </a:cxn>
                  <a:cxn ang="0">
                    <a:pos x="377" y="332"/>
                  </a:cxn>
                  <a:cxn ang="0">
                    <a:pos x="368" y="364"/>
                  </a:cxn>
                  <a:cxn ang="0">
                    <a:pos x="338" y="427"/>
                  </a:cxn>
                  <a:cxn ang="0">
                    <a:pos x="321" y="470"/>
                  </a:cxn>
                  <a:cxn ang="0">
                    <a:pos x="318" y="500"/>
                  </a:cxn>
                  <a:cxn ang="0">
                    <a:pos x="310" y="531"/>
                  </a:cxn>
                  <a:cxn ang="0">
                    <a:pos x="281" y="602"/>
                  </a:cxn>
                  <a:cxn ang="0">
                    <a:pos x="260" y="637"/>
                  </a:cxn>
                  <a:cxn ang="0">
                    <a:pos x="242" y="655"/>
                  </a:cxn>
                  <a:cxn ang="0">
                    <a:pos x="232" y="660"/>
                  </a:cxn>
                  <a:cxn ang="0">
                    <a:pos x="228" y="714"/>
                  </a:cxn>
                  <a:cxn ang="0">
                    <a:pos x="215" y="759"/>
                  </a:cxn>
                  <a:cxn ang="0">
                    <a:pos x="191" y="795"/>
                  </a:cxn>
                  <a:cxn ang="0">
                    <a:pos x="157" y="819"/>
                  </a:cxn>
                  <a:cxn ang="0">
                    <a:pos x="110" y="831"/>
                  </a:cxn>
                  <a:cxn ang="0">
                    <a:pos x="80" y="827"/>
                  </a:cxn>
                  <a:cxn ang="0">
                    <a:pos x="73" y="817"/>
                  </a:cxn>
                  <a:cxn ang="0">
                    <a:pos x="50" y="810"/>
                  </a:cxn>
                  <a:cxn ang="0">
                    <a:pos x="26" y="798"/>
                  </a:cxn>
                  <a:cxn ang="0">
                    <a:pos x="12" y="777"/>
                  </a:cxn>
                  <a:cxn ang="0">
                    <a:pos x="3" y="752"/>
                  </a:cxn>
                  <a:cxn ang="0">
                    <a:pos x="0" y="708"/>
                  </a:cxn>
                  <a:cxn ang="0">
                    <a:pos x="4" y="694"/>
                  </a:cxn>
                  <a:cxn ang="0">
                    <a:pos x="19" y="678"/>
                  </a:cxn>
                  <a:cxn ang="0">
                    <a:pos x="11" y="672"/>
                  </a:cxn>
                  <a:cxn ang="0">
                    <a:pos x="0" y="652"/>
                  </a:cxn>
                  <a:cxn ang="0">
                    <a:pos x="5" y="628"/>
                  </a:cxn>
                  <a:cxn ang="0">
                    <a:pos x="8" y="610"/>
                  </a:cxn>
                  <a:cxn ang="0">
                    <a:pos x="5" y="591"/>
                  </a:cxn>
                  <a:cxn ang="0">
                    <a:pos x="18" y="587"/>
                  </a:cxn>
                  <a:cxn ang="0">
                    <a:pos x="43" y="568"/>
                  </a:cxn>
                  <a:cxn ang="0">
                    <a:pos x="63" y="538"/>
                  </a:cxn>
                  <a:cxn ang="0">
                    <a:pos x="76" y="506"/>
                  </a:cxn>
                  <a:cxn ang="0">
                    <a:pos x="86" y="462"/>
                  </a:cxn>
                  <a:cxn ang="0">
                    <a:pos x="83" y="438"/>
                  </a:cxn>
                  <a:cxn ang="0">
                    <a:pos x="70" y="408"/>
                  </a:cxn>
                  <a:cxn ang="0">
                    <a:pos x="56" y="382"/>
                  </a:cxn>
                  <a:cxn ang="0">
                    <a:pos x="53" y="363"/>
                  </a:cxn>
                </a:cxnLst>
                <a:rect l="0" t="0" r="r" b="b"/>
                <a:pathLst>
                  <a:path w="452" h="832">
                    <a:moveTo>
                      <a:pt x="93" y="264"/>
                    </a:moveTo>
                    <a:lnTo>
                      <a:pt x="103" y="263"/>
                    </a:lnTo>
                    <a:lnTo>
                      <a:pt x="112" y="261"/>
                    </a:lnTo>
                    <a:lnTo>
                      <a:pt x="120" y="257"/>
                    </a:lnTo>
                    <a:lnTo>
                      <a:pt x="129" y="252"/>
                    </a:lnTo>
                    <a:lnTo>
                      <a:pt x="138" y="248"/>
                    </a:lnTo>
                    <a:lnTo>
                      <a:pt x="147" y="244"/>
                    </a:lnTo>
                    <a:lnTo>
                      <a:pt x="157" y="241"/>
                    </a:lnTo>
                    <a:lnTo>
                      <a:pt x="165" y="240"/>
                    </a:lnTo>
                    <a:lnTo>
                      <a:pt x="175" y="239"/>
                    </a:lnTo>
                    <a:lnTo>
                      <a:pt x="184" y="236"/>
                    </a:lnTo>
                    <a:lnTo>
                      <a:pt x="192" y="232"/>
                    </a:lnTo>
                    <a:lnTo>
                      <a:pt x="199" y="227"/>
                    </a:lnTo>
                    <a:lnTo>
                      <a:pt x="206" y="222"/>
                    </a:lnTo>
                    <a:lnTo>
                      <a:pt x="215" y="217"/>
                    </a:lnTo>
                    <a:lnTo>
                      <a:pt x="222" y="213"/>
                    </a:lnTo>
                    <a:lnTo>
                      <a:pt x="232" y="209"/>
                    </a:lnTo>
                    <a:lnTo>
                      <a:pt x="232" y="200"/>
                    </a:lnTo>
                    <a:lnTo>
                      <a:pt x="232" y="191"/>
                    </a:lnTo>
                    <a:lnTo>
                      <a:pt x="232" y="184"/>
                    </a:lnTo>
                    <a:lnTo>
                      <a:pt x="232" y="179"/>
                    </a:lnTo>
                    <a:lnTo>
                      <a:pt x="248" y="179"/>
                    </a:lnTo>
                    <a:lnTo>
                      <a:pt x="259" y="179"/>
                    </a:lnTo>
                    <a:lnTo>
                      <a:pt x="265" y="178"/>
                    </a:lnTo>
                    <a:lnTo>
                      <a:pt x="271" y="177"/>
                    </a:lnTo>
                    <a:lnTo>
                      <a:pt x="276" y="175"/>
                    </a:lnTo>
                    <a:lnTo>
                      <a:pt x="282" y="173"/>
                    </a:lnTo>
                    <a:lnTo>
                      <a:pt x="287" y="170"/>
                    </a:lnTo>
                    <a:lnTo>
                      <a:pt x="293" y="166"/>
                    </a:lnTo>
                    <a:lnTo>
                      <a:pt x="298" y="162"/>
                    </a:lnTo>
                    <a:lnTo>
                      <a:pt x="303" y="157"/>
                    </a:lnTo>
                    <a:lnTo>
                      <a:pt x="311" y="145"/>
                    </a:lnTo>
                    <a:lnTo>
                      <a:pt x="320" y="133"/>
                    </a:lnTo>
                    <a:lnTo>
                      <a:pt x="329" y="120"/>
                    </a:lnTo>
                    <a:lnTo>
                      <a:pt x="336" y="106"/>
                    </a:lnTo>
                    <a:lnTo>
                      <a:pt x="350" y="75"/>
                    </a:lnTo>
                    <a:lnTo>
                      <a:pt x="361" y="46"/>
                    </a:lnTo>
                    <a:lnTo>
                      <a:pt x="371" y="20"/>
                    </a:lnTo>
                    <a:lnTo>
                      <a:pt x="378" y="0"/>
                    </a:lnTo>
                    <a:lnTo>
                      <a:pt x="379" y="7"/>
                    </a:lnTo>
                    <a:lnTo>
                      <a:pt x="383" y="13"/>
                    </a:lnTo>
                    <a:lnTo>
                      <a:pt x="385" y="19"/>
                    </a:lnTo>
                    <a:lnTo>
                      <a:pt x="389" y="25"/>
                    </a:lnTo>
                    <a:lnTo>
                      <a:pt x="397" y="36"/>
                    </a:lnTo>
                    <a:lnTo>
                      <a:pt x="407" y="47"/>
                    </a:lnTo>
                    <a:lnTo>
                      <a:pt x="430" y="65"/>
                    </a:lnTo>
                    <a:lnTo>
                      <a:pt x="452" y="80"/>
                    </a:lnTo>
                    <a:lnTo>
                      <a:pt x="448" y="85"/>
                    </a:lnTo>
                    <a:lnTo>
                      <a:pt x="444" y="91"/>
                    </a:lnTo>
                    <a:lnTo>
                      <a:pt x="442" y="96"/>
                    </a:lnTo>
                    <a:lnTo>
                      <a:pt x="440" y="103"/>
                    </a:lnTo>
                    <a:lnTo>
                      <a:pt x="440" y="114"/>
                    </a:lnTo>
                    <a:lnTo>
                      <a:pt x="442" y="125"/>
                    </a:lnTo>
                    <a:lnTo>
                      <a:pt x="444" y="138"/>
                    </a:lnTo>
                    <a:lnTo>
                      <a:pt x="448" y="151"/>
                    </a:lnTo>
                    <a:lnTo>
                      <a:pt x="451" y="168"/>
                    </a:lnTo>
                    <a:lnTo>
                      <a:pt x="452" y="185"/>
                    </a:lnTo>
                    <a:lnTo>
                      <a:pt x="451" y="192"/>
                    </a:lnTo>
                    <a:lnTo>
                      <a:pt x="450" y="199"/>
                    </a:lnTo>
                    <a:lnTo>
                      <a:pt x="448" y="206"/>
                    </a:lnTo>
                    <a:lnTo>
                      <a:pt x="444" y="213"/>
                    </a:lnTo>
                    <a:lnTo>
                      <a:pt x="437" y="224"/>
                    </a:lnTo>
                    <a:lnTo>
                      <a:pt x="428" y="234"/>
                    </a:lnTo>
                    <a:lnTo>
                      <a:pt x="420" y="244"/>
                    </a:lnTo>
                    <a:lnTo>
                      <a:pt x="412" y="255"/>
                    </a:lnTo>
                    <a:lnTo>
                      <a:pt x="409" y="261"/>
                    </a:lnTo>
                    <a:lnTo>
                      <a:pt x="407" y="269"/>
                    </a:lnTo>
                    <a:lnTo>
                      <a:pt x="406" y="276"/>
                    </a:lnTo>
                    <a:lnTo>
                      <a:pt x="405" y="283"/>
                    </a:lnTo>
                    <a:lnTo>
                      <a:pt x="402" y="289"/>
                    </a:lnTo>
                    <a:lnTo>
                      <a:pt x="397" y="302"/>
                    </a:lnTo>
                    <a:lnTo>
                      <a:pt x="393" y="308"/>
                    </a:lnTo>
                    <a:lnTo>
                      <a:pt x="388" y="314"/>
                    </a:lnTo>
                    <a:lnTo>
                      <a:pt x="386" y="316"/>
                    </a:lnTo>
                    <a:lnTo>
                      <a:pt x="383" y="318"/>
                    </a:lnTo>
                    <a:lnTo>
                      <a:pt x="381" y="319"/>
                    </a:lnTo>
                    <a:lnTo>
                      <a:pt x="378" y="320"/>
                    </a:lnTo>
                    <a:lnTo>
                      <a:pt x="377" y="332"/>
                    </a:lnTo>
                    <a:lnTo>
                      <a:pt x="376" y="343"/>
                    </a:lnTo>
                    <a:lnTo>
                      <a:pt x="373" y="354"/>
                    </a:lnTo>
                    <a:lnTo>
                      <a:pt x="368" y="364"/>
                    </a:lnTo>
                    <a:lnTo>
                      <a:pt x="360" y="386"/>
                    </a:lnTo>
                    <a:lnTo>
                      <a:pt x="349" y="406"/>
                    </a:lnTo>
                    <a:lnTo>
                      <a:pt x="338" y="427"/>
                    </a:lnTo>
                    <a:lnTo>
                      <a:pt x="328" y="449"/>
                    </a:lnTo>
                    <a:lnTo>
                      <a:pt x="325" y="459"/>
                    </a:lnTo>
                    <a:lnTo>
                      <a:pt x="321" y="470"/>
                    </a:lnTo>
                    <a:lnTo>
                      <a:pt x="319" y="481"/>
                    </a:lnTo>
                    <a:lnTo>
                      <a:pt x="319" y="493"/>
                    </a:lnTo>
                    <a:lnTo>
                      <a:pt x="318" y="500"/>
                    </a:lnTo>
                    <a:lnTo>
                      <a:pt x="316" y="509"/>
                    </a:lnTo>
                    <a:lnTo>
                      <a:pt x="314" y="520"/>
                    </a:lnTo>
                    <a:lnTo>
                      <a:pt x="310" y="531"/>
                    </a:lnTo>
                    <a:lnTo>
                      <a:pt x="300" y="559"/>
                    </a:lnTo>
                    <a:lnTo>
                      <a:pt x="288" y="587"/>
                    </a:lnTo>
                    <a:lnTo>
                      <a:pt x="281" y="602"/>
                    </a:lnTo>
                    <a:lnTo>
                      <a:pt x="274" y="615"/>
                    </a:lnTo>
                    <a:lnTo>
                      <a:pt x="266" y="627"/>
                    </a:lnTo>
                    <a:lnTo>
                      <a:pt x="260" y="637"/>
                    </a:lnTo>
                    <a:lnTo>
                      <a:pt x="252" y="646"/>
                    </a:lnTo>
                    <a:lnTo>
                      <a:pt x="245" y="653"/>
                    </a:lnTo>
                    <a:lnTo>
                      <a:pt x="242" y="655"/>
                    </a:lnTo>
                    <a:lnTo>
                      <a:pt x="239" y="658"/>
                    </a:lnTo>
                    <a:lnTo>
                      <a:pt x="236" y="659"/>
                    </a:lnTo>
                    <a:lnTo>
                      <a:pt x="232" y="660"/>
                    </a:lnTo>
                    <a:lnTo>
                      <a:pt x="231" y="678"/>
                    </a:lnTo>
                    <a:lnTo>
                      <a:pt x="230" y="696"/>
                    </a:lnTo>
                    <a:lnTo>
                      <a:pt x="228" y="714"/>
                    </a:lnTo>
                    <a:lnTo>
                      <a:pt x="225" y="730"/>
                    </a:lnTo>
                    <a:lnTo>
                      <a:pt x="220" y="745"/>
                    </a:lnTo>
                    <a:lnTo>
                      <a:pt x="215" y="759"/>
                    </a:lnTo>
                    <a:lnTo>
                      <a:pt x="207" y="773"/>
                    </a:lnTo>
                    <a:lnTo>
                      <a:pt x="199" y="785"/>
                    </a:lnTo>
                    <a:lnTo>
                      <a:pt x="191" y="795"/>
                    </a:lnTo>
                    <a:lnTo>
                      <a:pt x="181" y="805"/>
                    </a:lnTo>
                    <a:lnTo>
                      <a:pt x="169" y="812"/>
                    </a:lnTo>
                    <a:lnTo>
                      <a:pt x="157" y="819"/>
                    </a:lnTo>
                    <a:lnTo>
                      <a:pt x="142" y="825"/>
                    </a:lnTo>
                    <a:lnTo>
                      <a:pt x="127" y="829"/>
                    </a:lnTo>
                    <a:lnTo>
                      <a:pt x="110" y="831"/>
                    </a:lnTo>
                    <a:lnTo>
                      <a:pt x="93" y="832"/>
                    </a:lnTo>
                    <a:lnTo>
                      <a:pt x="86" y="831"/>
                    </a:lnTo>
                    <a:lnTo>
                      <a:pt x="80" y="827"/>
                    </a:lnTo>
                    <a:lnTo>
                      <a:pt x="77" y="825"/>
                    </a:lnTo>
                    <a:lnTo>
                      <a:pt x="75" y="821"/>
                    </a:lnTo>
                    <a:lnTo>
                      <a:pt x="73" y="817"/>
                    </a:lnTo>
                    <a:lnTo>
                      <a:pt x="73" y="813"/>
                    </a:lnTo>
                    <a:lnTo>
                      <a:pt x="61" y="812"/>
                    </a:lnTo>
                    <a:lnTo>
                      <a:pt x="50" y="810"/>
                    </a:lnTo>
                    <a:lnTo>
                      <a:pt x="41" y="807"/>
                    </a:lnTo>
                    <a:lnTo>
                      <a:pt x="34" y="803"/>
                    </a:lnTo>
                    <a:lnTo>
                      <a:pt x="26" y="798"/>
                    </a:lnTo>
                    <a:lnTo>
                      <a:pt x="20" y="791"/>
                    </a:lnTo>
                    <a:lnTo>
                      <a:pt x="15" y="785"/>
                    </a:lnTo>
                    <a:lnTo>
                      <a:pt x="12" y="777"/>
                    </a:lnTo>
                    <a:lnTo>
                      <a:pt x="8" y="769"/>
                    </a:lnTo>
                    <a:lnTo>
                      <a:pt x="5" y="760"/>
                    </a:lnTo>
                    <a:lnTo>
                      <a:pt x="3" y="752"/>
                    </a:lnTo>
                    <a:lnTo>
                      <a:pt x="2" y="743"/>
                    </a:lnTo>
                    <a:lnTo>
                      <a:pt x="0" y="726"/>
                    </a:lnTo>
                    <a:lnTo>
                      <a:pt x="0" y="708"/>
                    </a:lnTo>
                    <a:lnTo>
                      <a:pt x="1" y="702"/>
                    </a:lnTo>
                    <a:lnTo>
                      <a:pt x="2" y="697"/>
                    </a:lnTo>
                    <a:lnTo>
                      <a:pt x="4" y="694"/>
                    </a:lnTo>
                    <a:lnTo>
                      <a:pt x="7" y="691"/>
                    </a:lnTo>
                    <a:lnTo>
                      <a:pt x="14" y="685"/>
                    </a:lnTo>
                    <a:lnTo>
                      <a:pt x="19" y="678"/>
                    </a:lnTo>
                    <a:lnTo>
                      <a:pt x="17" y="677"/>
                    </a:lnTo>
                    <a:lnTo>
                      <a:pt x="14" y="675"/>
                    </a:lnTo>
                    <a:lnTo>
                      <a:pt x="11" y="672"/>
                    </a:lnTo>
                    <a:lnTo>
                      <a:pt x="7" y="668"/>
                    </a:lnTo>
                    <a:lnTo>
                      <a:pt x="2" y="660"/>
                    </a:lnTo>
                    <a:lnTo>
                      <a:pt x="0" y="652"/>
                    </a:lnTo>
                    <a:lnTo>
                      <a:pt x="1" y="642"/>
                    </a:lnTo>
                    <a:lnTo>
                      <a:pt x="3" y="635"/>
                    </a:lnTo>
                    <a:lnTo>
                      <a:pt x="5" y="628"/>
                    </a:lnTo>
                    <a:lnTo>
                      <a:pt x="7" y="622"/>
                    </a:lnTo>
                    <a:lnTo>
                      <a:pt x="8" y="616"/>
                    </a:lnTo>
                    <a:lnTo>
                      <a:pt x="8" y="610"/>
                    </a:lnTo>
                    <a:lnTo>
                      <a:pt x="5" y="602"/>
                    </a:lnTo>
                    <a:lnTo>
                      <a:pt x="0" y="591"/>
                    </a:lnTo>
                    <a:lnTo>
                      <a:pt x="5" y="591"/>
                    </a:lnTo>
                    <a:lnTo>
                      <a:pt x="9" y="590"/>
                    </a:lnTo>
                    <a:lnTo>
                      <a:pt x="14" y="589"/>
                    </a:lnTo>
                    <a:lnTo>
                      <a:pt x="18" y="587"/>
                    </a:lnTo>
                    <a:lnTo>
                      <a:pt x="27" y="582"/>
                    </a:lnTo>
                    <a:lnTo>
                      <a:pt x="36" y="575"/>
                    </a:lnTo>
                    <a:lnTo>
                      <a:pt x="43" y="568"/>
                    </a:lnTo>
                    <a:lnTo>
                      <a:pt x="50" y="559"/>
                    </a:lnTo>
                    <a:lnTo>
                      <a:pt x="57" y="549"/>
                    </a:lnTo>
                    <a:lnTo>
                      <a:pt x="63" y="538"/>
                    </a:lnTo>
                    <a:lnTo>
                      <a:pt x="68" y="527"/>
                    </a:lnTo>
                    <a:lnTo>
                      <a:pt x="73" y="516"/>
                    </a:lnTo>
                    <a:lnTo>
                      <a:pt x="76" y="506"/>
                    </a:lnTo>
                    <a:lnTo>
                      <a:pt x="80" y="496"/>
                    </a:lnTo>
                    <a:lnTo>
                      <a:pt x="84" y="476"/>
                    </a:lnTo>
                    <a:lnTo>
                      <a:pt x="86" y="462"/>
                    </a:lnTo>
                    <a:lnTo>
                      <a:pt x="85" y="453"/>
                    </a:lnTo>
                    <a:lnTo>
                      <a:pt x="84" y="445"/>
                    </a:lnTo>
                    <a:lnTo>
                      <a:pt x="83" y="438"/>
                    </a:lnTo>
                    <a:lnTo>
                      <a:pt x="81" y="430"/>
                    </a:lnTo>
                    <a:lnTo>
                      <a:pt x="75" y="419"/>
                    </a:lnTo>
                    <a:lnTo>
                      <a:pt x="70" y="408"/>
                    </a:lnTo>
                    <a:lnTo>
                      <a:pt x="63" y="398"/>
                    </a:lnTo>
                    <a:lnTo>
                      <a:pt x="58" y="388"/>
                    </a:lnTo>
                    <a:lnTo>
                      <a:pt x="56" y="382"/>
                    </a:lnTo>
                    <a:lnTo>
                      <a:pt x="54" y="376"/>
                    </a:lnTo>
                    <a:lnTo>
                      <a:pt x="53" y="370"/>
                    </a:lnTo>
                    <a:lnTo>
                      <a:pt x="53" y="363"/>
                    </a:lnTo>
                    <a:lnTo>
                      <a:pt x="93" y="264"/>
                    </a:lnTo>
                  </a:path>
                </a:pathLst>
              </a:custGeom>
              <a:solidFill>
                <a:schemeClr val="accent1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27" name="Freeform 254"/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899083" y="3991884"/>
                <a:ext cx="76819" cy="118602"/>
              </a:xfrm>
              <a:custGeom>
                <a:avLst/>
                <a:gdLst/>
                <a:ahLst/>
                <a:cxnLst>
                  <a:cxn ang="0">
                    <a:pos x="80" y="2"/>
                  </a:cxn>
                  <a:cxn ang="0">
                    <a:pos x="80" y="101"/>
                  </a:cxn>
                  <a:cxn ang="0">
                    <a:pos x="78" y="104"/>
                  </a:cxn>
                  <a:cxn ang="0">
                    <a:pos x="75" y="107"/>
                  </a:cxn>
                  <a:cxn ang="0">
                    <a:pos x="70" y="109"/>
                  </a:cxn>
                  <a:cxn ang="0">
                    <a:pos x="67" y="111"/>
                  </a:cxn>
                  <a:cxn ang="0">
                    <a:pos x="58" y="114"/>
                  </a:cxn>
                  <a:cxn ang="0">
                    <a:pos x="48" y="116"/>
                  </a:cxn>
                  <a:cxn ang="0">
                    <a:pos x="36" y="117"/>
                  </a:cxn>
                  <a:cxn ang="0">
                    <a:pos x="25" y="119"/>
                  </a:cxn>
                  <a:cxn ang="0">
                    <a:pos x="13" y="123"/>
                  </a:cxn>
                  <a:cxn ang="0">
                    <a:pos x="0" y="126"/>
                  </a:cxn>
                  <a:cxn ang="0">
                    <a:pos x="7" y="40"/>
                  </a:cxn>
                  <a:cxn ang="0">
                    <a:pos x="23" y="27"/>
                  </a:cxn>
                  <a:cxn ang="0">
                    <a:pos x="41" y="12"/>
                  </a:cxn>
                  <a:cxn ang="0">
                    <a:pos x="51" y="5"/>
                  </a:cxn>
                  <a:cxn ang="0">
                    <a:pos x="60" y="1"/>
                  </a:cxn>
                  <a:cxn ang="0">
                    <a:pos x="65" y="0"/>
                  </a:cxn>
                  <a:cxn ang="0">
                    <a:pos x="70" y="0"/>
                  </a:cxn>
                  <a:cxn ang="0">
                    <a:pos x="75" y="1"/>
                  </a:cxn>
                  <a:cxn ang="0">
                    <a:pos x="80" y="2"/>
                  </a:cxn>
                </a:cxnLst>
                <a:rect l="0" t="0" r="r" b="b"/>
                <a:pathLst>
                  <a:path w="80" h="126">
                    <a:moveTo>
                      <a:pt x="80" y="2"/>
                    </a:moveTo>
                    <a:lnTo>
                      <a:pt x="80" y="101"/>
                    </a:lnTo>
                    <a:lnTo>
                      <a:pt x="78" y="104"/>
                    </a:lnTo>
                    <a:lnTo>
                      <a:pt x="75" y="107"/>
                    </a:lnTo>
                    <a:lnTo>
                      <a:pt x="70" y="109"/>
                    </a:lnTo>
                    <a:lnTo>
                      <a:pt x="67" y="111"/>
                    </a:lnTo>
                    <a:lnTo>
                      <a:pt x="58" y="114"/>
                    </a:lnTo>
                    <a:lnTo>
                      <a:pt x="48" y="116"/>
                    </a:lnTo>
                    <a:lnTo>
                      <a:pt x="36" y="117"/>
                    </a:lnTo>
                    <a:lnTo>
                      <a:pt x="25" y="119"/>
                    </a:lnTo>
                    <a:lnTo>
                      <a:pt x="13" y="123"/>
                    </a:lnTo>
                    <a:lnTo>
                      <a:pt x="0" y="126"/>
                    </a:lnTo>
                    <a:lnTo>
                      <a:pt x="7" y="40"/>
                    </a:lnTo>
                    <a:lnTo>
                      <a:pt x="23" y="27"/>
                    </a:lnTo>
                    <a:lnTo>
                      <a:pt x="41" y="12"/>
                    </a:lnTo>
                    <a:lnTo>
                      <a:pt x="51" y="5"/>
                    </a:lnTo>
                    <a:lnTo>
                      <a:pt x="60" y="1"/>
                    </a:lnTo>
                    <a:lnTo>
                      <a:pt x="65" y="0"/>
                    </a:lnTo>
                    <a:lnTo>
                      <a:pt x="70" y="0"/>
                    </a:lnTo>
                    <a:lnTo>
                      <a:pt x="75" y="1"/>
                    </a:lnTo>
                    <a:lnTo>
                      <a:pt x="80" y="2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28" name="Freeform 255"/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875706" y="3921285"/>
                <a:ext cx="116898" cy="107306"/>
              </a:xfrm>
              <a:custGeom>
                <a:avLst/>
                <a:gdLst/>
                <a:ahLst/>
                <a:cxnLst>
                  <a:cxn ang="0">
                    <a:pos x="113" y="0"/>
                  </a:cxn>
                  <a:cxn ang="0">
                    <a:pos x="116" y="15"/>
                  </a:cxn>
                  <a:cxn ang="0">
                    <a:pos x="122" y="35"/>
                  </a:cxn>
                  <a:cxn ang="0">
                    <a:pos x="124" y="45"/>
                  </a:cxn>
                  <a:cxn ang="0">
                    <a:pos x="124" y="54"/>
                  </a:cxn>
                  <a:cxn ang="0">
                    <a:pos x="124" y="59"/>
                  </a:cxn>
                  <a:cxn ang="0">
                    <a:pos x="123" y="64"/>
                  </a:cxn>
                  <a:cxn ang="0">
                    <a:pos x="122" y="69"/>
                  </a:cxn>
                  <a:cxn ang="0">
                    <a:pos x="119" y="73"/>
                  </a:cxn>
                  <a:cxn ang="0">
                    <a:pos x="114" y="72"/>
                  </a:cxn>
                  <a:cxn ang="0">
                    <a:pos x="108" y="71"/>
                  </a:cxn>
                  <a:cxn ang="0">
                    <a:pos x="103" y="72"/>
                  </a:cxn>
                  <a:cxn ang="0">
                    <a:pos x="96" y="73"/>
                  </a:cxn>
                  <a:cxn ang="0">
                    <a:pos x="83" y="78"/>
                  </a:cxn>
                  <a:cxn ang="0">
                    <a:pos x="71" y="85"/>
                  </a:cxn>
                  <a:cxn ang="0">
                    <a:pos x="46" y="103"/>
                  </a:cxn>
                  <a:cxn ang="0">
                    <a:pos x="26" y="117"/>
                  </a:cxn>
                  <a:cxn ang="0">
                    <a:pos x="23" y="112"/>
                  </a:cxn>
                  <a:cxn ang="0">
                    <a:pos x="13" y="101"/>
                  </a:cxn>
                  <a:cxn ang="0">
                    <a:pos x="4" y="89"/>
                  </a:cxn>
                  <a:cxn ang="0">
                    <a:pos x="0" y="79"/>
                  </a:cxn>
                  <a:cxn ang="0">
                    <a:pos x="1" y="76"/>
                  </a:cxn>
                  <a:cxn ang="0">
                    <a:pos x="2" y="72"/>
                  </a:cxn>
                  <a:cxn ang="0">
                    <a:pos x="5" y="67"/>
                  </a:cxn>
                  <a:cxn ang="0">
                    <a:pos x="9" y="62"/>
                  </a:cxn>
                  <a:cxn ang="0">
                    <a:pos x="17" y="52"/>
                  </a:cxn>
                  <a:cxn ang="0">
                    <a:pos x="27" y="42"/>
                  </a:cxn>
                  <a:cxn ang="0">
                    <a:pos x="48" y="22"/>
                  </a:cxn>
                  <a:cxn ang="0">
                    <a:pos x="60" y="12"/>
                  </a:cxn>
                  <a:cxn ang="0">
                    <a:pos x="73" y="12"/>
                  </a:cxn>
                  <a:cxn ang="0">
                    <a:pos x="86" y="12"/>
                  </a:cxn>
                  <a:cxn ang="0">
                    <a:pos x="100" y="6"/>
                  </a:cxn>
                  <a:cxn ang="0">
                    <a:pos x="113" y="0"/>
                  </a:cxn>
                </a:cxnLst>
                <a:rect l="0" t="0" r="r" b="b"/>
                <a:pathLst>
                  <a:path w="124" h="117">
                    <a:moveTo>
                      <a:pt x="113" y="0"/>
                    </a:moveTo>
                    <a:lnTo>
                      <a:pt x="116" y="15"/>
                    </a:lnTo>
                    <a:lnTo>
                      <a:pt x="122" y="35"/>
                    </a:lnTo>
                    <a:lnTo>
                      <a:pt x="124" y="45"/>
                    </a:lnTo>
                    <a:lnTo>
                      <a:pt x="124" y="54"/>
                    </a:lnTo>
                    <a:lnTo>
                      <a:pt x="124" y="59"/>
                    </a:lnTo>
                    <a:lnTo>
                      <a:pt x="123" y="64"/>
                    </a:lnTo>
                    <a:lnTo>
                      <a:pt x="122" y="69"/>
                    </a:lnTo>
                    <a:lnTo>
                      <a:pt x="119" y="73"/>
                    </a:lnTo>
                    <a:lnTo>
                      <a:pt x="114" y="72"/>
                    </a:lnTo>
                    <a:lnTo>
                      <a:pt x="108" y="71"/>
                    </a:lnTo>
                    <a:lnTo>
                      <a:pt x="103" y="72"/>
                    </a:lnTo>
                    <a:lnTo>
                      <a:pt x="96" y="73"/>
                    </a:lnTo>
                    <a:lnTo>
                      <a:pt x="83" y="78"/>
                    </a:lnTo>
                    <a:lnTo>
                      <a:pt x="71" y="85"/>
                    </a:lnTo>
                    <a:lnTo>
                      <a:pt x="46" y="103"/>
                    </a:lnTo>
                    <a:lnTo>
                      <a:pt x="26" y="117"/>
                    </a:lnTo>
                    <a:lnTo>
                      <a:pt x="23" y="112"/>
                    </a:lnTo>
                    <a:lnTo>
                      <a:pt x="13" y="101"/>
                    </a:lnTo>
                    <a:lnTo>
                      <a:pt x="4" y="89"/>
                    </a:lnTo>
                    <a:lnTo>
                      <a:pt x="0" y="79"/>
                    </a:lnTo>
                    <a:lnTo>
                      <a:pt x="1" y="76"/>
                    </a:lnTo>
                    <a:lnTo>
                      <a:pt x="2" y="72"/>
                    </a:lnTo>
                    <a:lnTo>
                      <a:pt x="5" y="67"/>
                    </a:lnTo>
                    <a:lnTo>
                      <a:pt x="9" y="62"/>
                    </a:lnTo>
                    <a:lnTo>
                      <a:pt x="17" y="52"/>
                    </a:lnTo>
                    <a:lnTo>
                      <a:pt x="27" y="42"/>
                    </a:lnTo>
                    <a:lnTo>
                      <a:pt x="48" y="22"/>
                    </a:lnTo>
                    <a:lnTo>
                      <a:pt x="60" y="12"/>
                    </a:lnTo>
                    <a:lnTo>
                      <a:pt x="73" y="12"/>
                    </a:lnTo>
                    <a:lnTo>
                      <a:pt x="86" y="12"/>
                    </a:lnTo>
                    <a:lnTo>
                      <a:pt x="100" y="6"/>
                    </a:lnTo>
                    <a:lnTo>
                      <a:pt x="113" y="0"/>
                    </a:lnTo>
                  </a:path>
                </a:pathLst>
              </a:custGeom>
              <a:solidFill>
                <a:schemeClr val="accent1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29" name="Freeform 263"/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2480994" y="3158835"/>
                <a:ext cx="170336" cy="104485"/>
              </a:xfrm>
              <a:custGeom>
                <a:avLst/>
                <a:gdLst/>
                <a:ahLst/>
                <a:cxnLst>
                  <a:cxn ang="0">
                    <a:pos x="180" y="7"/>
                  </a:cxn>
                  <a:cxn ang="0">
                    <a:pos x="171" y="24"/>
                  </a:cxn>
                  <a:cxn ang="0">
                    <a:pos x="163" y="39"/>
                  </a:cxn>
                  <a:cxn ang="0">
                    <a:pos x="152" y="53"/>
                  </a:cxn>
                  <a:cxn ang="0">
                    <a:pos x="141" y="66"/>
                  </a:cxn>
                  <a:cxn ang="0">
                    <a:pos x="129" y="80"/>
                  </a:cxn>
                  <a:cxn ang="0">
                    <a:pos x="115" y="92"/>
                  </a:cxn>
                  <a:cxn ang="0">
                    <a:pos x="101" y="102"/>
                  </a:cxn>
                  <a:cxn ang="0">
                    <a:pos x="87" y="112"/>
                  </a:cxn>
                  <a:cxn ang="0">
                    <a:pos x="82" y="107"/>
                  </a:cxn>
                  <a:cxn ang="0">
                    <a:pos x="79" y="101"/>
                  </a:cxn>
                  <a:cxn ang="0">
                    <a:pos x="76" y="95"/>
                  </a:cxn>
                  <a:cxn ang="0">
                    <a:pos x="74" y="88"/>
                  </a:cxn>
                  <a:cxn ang="0">
                    <a:pos x="70" y="81"/>
                  </a:cxn>
                  <a:cxn ang="0">
                    <a:pos x="68" y="74"/>
                  </a:cxn>
                  <a:cxn ang="0">
                    <a:pos x="65" y="69"/>
                  </a:cxn>
                  <a:cxn ang="0">
                    <a:pos x="60" y="63"/>
                  </a:cxn>
                  <a:cxn ang="0">
                    <a:pos x="45" y="48"/>
                  </a:cxn>
                  <a:cxn ang="0">
                    <a:pos x="36" y="38"/>
                  </a:cxn>
                  <a:cxn ang="0">
                    <a:pos x="30" y="33"/>
                  </a:cxn>
                  <a:cxn ang="0">
                    <a:pos x="25" y="31"/>
                  </a:cxn>
                  <a:cxn ang="0">
                    <a:pos x="18" y="30"/>
                  </a:cxn>
                  <a:cxn ang="0">
                    <a:pos x="0" y="26"/>
                  </a:cxn>
                  <a:cxn ang="0">
                    <a:pos x="26" y="14"/>
                  </a:cxn>
                  <a:cxn ang="0">
                    <a:pos x="41" y="9"/>
                  </a:cxn>
                  <a:cxn ang="0">
                    <a:pos x="56" y="5"/>
                  </a:cxn>
                  <a:cxn ang="0">
                    <a:pos x="74" y="3"/>
                  </a:cxn>
                  <a:cxn ang="0">
                    <a:pos x="93" y="1"/>
                  </a:cxn>
                  <a:cxn ang="0">
                    <a:pos x="114" y="0"/>
                  </a:cxn>
                  <a:cxn ang="0">
                    <a:pos x="135" y="1"/>
                  </a:cxn>
                  <a:cxn ang="0">
                    <a:pos x="157" y="3"/>
                  </a:cxn>
                  <a:cxn ang="0">
                    <a:pos x="180" y="7"/>
                  </a:cxn>
                </a:cxnLst>
                <a:rect l="0" t="0" r="r" b="b"/>
                <a:pathLst>
                  <a:path w="180" h="112">
                    <a:moveTo>
                      <a:pt x="180" y="7"/>
                    </a:moveTo>
                    <a:lnTo>
                      <a:pt x="171" y="24"/>
                    </a:lnTo>
                    <a:lnTo>
                      <a:pt x="163" y="39"/>
                    </a:lnTo>
                    <a:lnTo>
                      <a:pt x="152" y="53"/>
                    </a:lnTo>
                    <a:lnTo>
                      <a:pt x="141" y="66"/>
                    </a:lnTo>
                    <a:lnTo>
                      <a:pt x="129" y="80"/>
                    </a:lnTo>
                    <a:lnTo>
                      <a:pt x="115" y="92"/>
                    </a:lnTo>
                    <a:lnTo>
                      <a:pt x="101" y="102"/>
                    </a:lnTo>
                    <a:lnTo>
                      <a:pt x="87" y="112"/>
                    </a:lnTo>
                    <a:lnTo>
                      <a:pt x="82" y="107"/>
                    </a:lnTo>
                    <a:lnTo>
                      <a:pt x="79" y="101"/>
                    </a:lnTo>
                    <a:lnTo>
                      <a:pt x="76" y="95"/>
                    </a:lnTo>
                    <a:lnTo>
                      <a:pt x="74" y="88"/>
                    </a:lnTo>
                    <a:lnTo>
                      <a:pt x="70" y="81"/>
                    </a:lnTo>
                    <a:lnTo>
                      <a:pt x="68" y="74"/>
                    </a:lnTo>
                    <a:lnTo>
                      <a:pt x="65" y="69"/>
                    </a:lnTo>
                    <a:lnTo>
                      <a:pt x="60" y="63"/>
                    </a:lnTo>
                    <a:lnTo>
                      <a:pt x="45" y="48"/>
                    </a:lnTo>
                    <a:lnTo>
                      <a:pt x="36" y="38"/>
                    </a:lnTo>
                    <a:lnTo>
                      <a:pt x="30" y="33"/>
                    </a:lnTo>
                    <a:lnTo>
                      <a:pt x="25" y="31"/>
                    </a:lnTo>
                    <a:lnTo>
                      <a:pt x="18" y="30"/>
                    </a:lnTo>
                    <a:lnTo>
                      <a:pt x="0" y="26"/>
                    </a:lnTo>
                    <a:lnTo>
                      <a:pt x="26" y="14"/>
                    </a:lnTo>
                    <a:lnTo>
                      <a:pt x="41" y="9"/>
                    </a:lnTo>
                    <a:lnTo>
                      <a:pt x="56" y="5"/>
                    </a:lnTo>
                    <a:lnTo>
                      <a:pt x="74" y="3"/>
                    </a:lnTo>
                    <a:lnTo>
                      <a:pt x="93" y="1"/>
                    </a:lnTo>
                    <a:lnTo>
                      <a:pt x="114" y="0"/>
                    </a:lnTo>
                    <a:lnTo>
                      <a:pt x="135" y="1"/>
                    </a:lnTo>
                    <a:lnTo>
                      <a:pt x="157" y="3"/>
                    </a:lnTo>
                    <a:lnTo>
                      <a:pt x="180" y="7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30" name="Freeform 264"/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2658011" y="3305681"/>
                <a:ext cx="156973" cy="177905"/>
              </a:xfrm>
              <a:custGeom>
                <a:avLst/>
                <a:gdLst/>
                <a:ahLst/>
                <a:cxnLst>
                  <a:cxn ang="0">
                    <a:pos x="0" y="68"/>
                  </a:cxn>
                  <a:cxn ang="0">
                    <a:pos x="27" y="42"/>
                  </a:cxn>
                  <a:cxn ang="0">
                    <a:pos x="51" y="21"/>
                  </a:cxn>
                  <a:cxn ang="0">
                    <a:pos x="56" y="16"/>
                  </a:cxn>
                  <a:cxn ang="0">
                    <a:pos x="63" y="12"/>
                  </a:cxn>
                  <a:cxn ang="0">
                    <a:pos x="70" y="8"/>
                  </a:cxn>
                  <a:cxn ang="0">
                    <a:pos x="76" y="6"/>
                  </a:cxn>
                  <a:cxn ang="0">
                    <a:pos x="83" y="3"/>
                  </a:cxn>
                  <a:cxn ang="0">
                    <a:pos x="90" y="2"/>
                  </a:cxn>
                  <a:cxn ang="0">
                    <a:pos x="98" y="1"/>
                  </a:cxn>
                  <a:cxn ang="0">
                    <a:pos x="107" y="0"/>
                  </a:cxn>
                  <a:cxn ang="0">
                    <a:pos x="116" y="1"/>
                  </a:cxn>
                  <a:cxn ang="0">
                    <a:pos x="124" y="2"/>
                  </a:cxn>
                  <a:cxn ang="0">
                    <a:pos x="132" y="5"/>
                  </a:cxn>
                  <a:cxn ang="0">
                    <a:pos x="139" y="8"/>
                  </a:cxn>
                  <a:cxn ang="0">
                    <a:pos x="145" y="13"/>
                  </a:cxn>
                  <a:cxn ang="0">
                    <a:pos x="151" y="19"/>
                  </a:cxn>
                  <a:cxn ang="0">
                    <a:pos x="155" y="24"/>
                  </a:cxn>
                  <a:cxn ang="0">
                    <a:pos x="160" y="30"/>
                  </a:cxn>
                  <a:cxn ang="0">
                    <a:pos x="163" y="37"/>
                  </a:cxn>
                  <a:cxn ang="0">
                    <a:pos x="166" y="43"/>
                  </a:cxn>
                  <a:cxn ang="0">
                    <a:pos x="168" y="50"/>
                  </a:cxn>
                  <a:cxn ang="0">
                    <a:pos x="169" y="57"/>
                  </a:cxn>
                  <a:cxn ang="0">
                    <a:pos x="172" y="72"/>
                  </a:cxn>
                  <a:cxn ang="0">
                    <a:pos x="173" y="87"/>
                  </a:cxn>
                  <a:cxn ang="0">
                    <a:pos x="157" y="114"/>
                  </a:cxn>
                  <a:cxn ang="0">
                    <a:pos x="146" y="137"/>
                  </a:cxn>
                  <a:cxn ang="0">
                    <a:pos x="139" y="148"/>
                  </a:cxn>
                  <a:cxn ang="0">
                    <a:pos x="130" y="160"/>
                  </a:cxn>
                  <a:cxn ang="0">
                    <a:pos x="117" y="174"/>
                  </a:cxn>
                  <a:cxn ang="0">
                    <a:pos x="99" y="192"/>
                  </a:cxn>
                  <a:cxn ang="0">
                    <a:pos x="86" y="183"/>
                  </a:cxn>
                  <a:cxn ang="0">
                    <a:pos x="74" y="176"/>
                  </a:cxn>
                  <a:cxn ang="0">
                    <a:pos x="63" y="169"/>
                  </a:cxn>
                  <a:cxn ang="0">
                    <a:pos x="54" y="163"/>
                  </a:cxn>
                  <a:cxn ang="0">
                    <a:pos x="46" y="156"/>
                  </a:cxn>
                  <a:cxn ang="0">
                    <a:pos x="40" y="150"/>
                  </a:cxn>
                  <a:cxn ang="0">
                    <a:pos x="34" y="144"/>
                  </a:cxn>
                  <a:cxn ang="0">
                    <a:pos x="30" y="137"/>
                  </a:cxn>
                  <a:cxn ang="0">
                    <a:pos x="22" y="123"/>
                  </a:cxn>
                  <a:cxn ang="0">
                    <a:pos x="16" y="107"/>
                  </a:cxn>
                  <a:cxn ang="0">
                    <a:pos x="9" y="90"/>
                  </a:cxn>
                  <a:cxn ang="0">
                    <a:pos x="0" y="68"/>
                  </a:cxn>
                </a:cxnLst>
                <a:rect l="0" t="0" r="r" b="b"/>
                <a:pathLst>
                  <a:path w="173" h="192">
                    <a:moveTo>
                      <a:pt x="0" y="68"/>
                    </a:moveTo>
                    <a:lnTo>
                      <a:pt x="27" y="42"/>
                    </a:lnTo>
                    <a:lnTo>
                      <a:pt x="51" y="21"/>
                    </a:lnTo>
                    <a:lnTo>
                      <a:pt x="56" y="16"/>
                    </a:lnTo>
                    <a:lnTo>
                      <a:pt x="63" y="12"/>
                    </a:lnTo>
                    <a:lnTo>
                      <a:pt x="70" y="8"/>
                    </a:lnTo>
                    <a:lnTo>
                      <a:pt x="76" y="6"/>
                    </a:lnTo>
                    <a:lnTo>
                      <a:pt x="83" y="3"/>
                    </a:lnTo>
                    <a:lnTo>
                      <a:pt x="90" y="2"/>
                    </a:lnTo>
                    <a:lnTo>
                      <a:pt x="98" y="1"/>
                    </a:lnTo>
                    <a:lnTo>
                      <a:pt x="107" y="0"/>
                    </a:lnTo>
                    <a:lnTo>
                      <a:pt x="116" y="1"/>
                    </a:lnTo>
                    <a:lnTo>
                      <a:pt x="124" y="2"/>
                    </a:lnTo>
                    <a:lnTo>
                      <a:pt x="132" y="5"/>
                    </a:lnTo>
                    <a:lnTo>
                      <a:pt x="139" y="8"/>
                    </a:lnTo>
                    <a:lnTo>
                      <a:pt x="145" y="13"/>
                    </a:lnTo>
                    <a:lnTo>
                      <a:pt x="151" y="19"/>
                    </a:lnTo>
                    <a:lnTo>
                      <a:pt x="155" y="24"/>
                    </a:lnTo>
                    <a:lnTo>
                      <a:pt x="160" y="30"/>
                    </a:lnTo>
                    <a:lnTo>
                      <a:pt x="163" y="37"/>
                    </a:lnTo>
                    <a:lnTo>
                      <a:pt x="166" y="43"/>
                    </a:lnTo>
                    <a:lnTo>
                      <a:pt x="168" y="50"/>
                    </a:lnTo>
                    <a:lnTo>
                      <a:pt x="169" y="57"/>
                    </a:lnTo>
                    <a:lnTo>
                      <a:pt x="172" y="72"/>
                    </a:lnTo>
                    <a:lnTo>
                      <a:pt x="173" y="87"/>
                    </a:lnTo>
                    <a:lnTo>
                      <a:pt x="157" y="114"/>
                    </a:lnTo>
                    <a:lnTo>
                      <a:pt x="146" y="137"/>
                    </a:lnTo>
                    <a:lnTo>
                      <a:pt x="139" y="148"/>
                    </a:lnTo>
                    <a:lnTo>
                      <a:pt x="130" y="160"/>
                    </a:lnTo>
                    <a:lnTo>
                      <a:pt x="117" y="174"/>
                    </a:lnTo>
                    <a:lnTo>
                      <a:pt x="99" y="192"/>
                    </a:lnTo>
                    <a:lnTo>
                      <a:pt x="86" y="183"/>
                    </a:lnTo>
                    <a:lnTo>
                      <a:pt x="74" y="176"/>
                    </a:lnTo>
                    <a:lnTo>
                      <a:pt x="63" y="169"/>
                    </a:lnTo>
                    <a:lnTo>
                      <a:pt x="54" y="163"/>
                    </a:lnTo>
                    <a:lnTo>
                      <a:pt x="46" y="156"/>
                    </a:lnTo>
                    <a:lnTo>
                      <a:pt x="40" y="150"/>
                    </a:lnTo>
                    <a:lnTo>
                      <a:pt x="34" y="144"/>
                    </a:lnTo>
                    <a:lnTo>
                      <a:pt x="30" y="137"/>
                    </a:lnTo>
                    <a:lnTo>
                      <a:pt x="22" y="123"/>
                    </a:lnTo>
                    <a:lnTo>
                      <a:pt x="16" y="107"/>
                    </a:lnTo>
                    <a:lnTo>
                      <a:pt x="9" y="90"/>
                    </a:lnTo>
                    <a:lnTo>
                      <a:pt x="0" y="68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31" name="Freeform 265"/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2748188" y="3396045"/>
                <a:ext cx="220433" cy="234383"/>
              </a:xfrm>
              <a:custGeom>
                <a:avLst/>
                <a:gdLst/>
                <a:ahLst/>
                <a:cxnLst>
                  <a:cxn ang="0">
                    <a:pos x="74" y="0"/>
                  </a:cxn>
                  <a:cxn ang="0">
                    <a:pos x="83" y="2"/>
                  </a:cxn>
                  <a:cxn ang="0">
                    <a:pos x="89" y="3"/>
                  </a:cxn>
                  <a:cxn ang="0">
                    <a:pos x="95" y="3"/>
                  </a:cxn>
                  <a:cxn ang="0">
                    <a:pos x="99" y="2"/>
                  </a:cxn>
                  <a:cxn ang="0">
                    <a:pos x="106" y="1"/>
                  </a:cxn>
                  <a:cxn ang="0">
                    <a:pos x="113" y="0"/>
                  </a:cxn>
                  <a:cxn ang="0">
                    <a:pos x="125" y="17"/>
                  </a:cxn>
                  <a:cxn ang="0">
                    <a:pos x="140" y="37"/>
                  </a:cxn>
                  <a:cxn ang="0">
                    <a:pos x="144" y="42"/>
                  </a:cxn>
                  <a:cxn ang="0">
                    <a:pos x="148" y="46"/>
                  </a:cxn>
                  <a:cxn ang="0">
                    <a:pos x="153" y="49"/>
                  </a:cxn>
                  <a:cxn ang="0">
                    <a:pos x="157" y="52"/>
                  </a:cxn>
                  <a:cxn ang="0">
                    <a:pos x="163" y="54"/>
                  </a:cxn>
                  <a:cxn ang="0">
                    <a:pos x="168" y="56"/>
                  </a:cxn>
                  <a:cxn ang="0">
                    <a:pos x="174" y="56"/>
                  </a:cxn>
                  <a:cxn ang="0">
                    <a:pos x="180" y="56"/>
                  </a:cxn>
                  <a:cxn ang="0">
                    <a:pos x="180" y="80"/>
                  </a:cxn>
                  <a:cxn ang="0">
                    <a:pos x="193" y="103"/>
                  </a:cxn>
                  <a:cxn ang="0">
                    <a:pos x="212" y="128"/>
                  </a:cxn>
                  <a:cxn ang="0">
                    <a:pos x="215" y="135"/>
                  </a:cxn>
                  <a:cxn ang="0">
                    <a:pos x="220" y="142"/>
                  </a:cxn>
                  <a:cxn ang="0">
                    <a:pos x="223" y="151"/>
                  </a:cxn>
                  <a:cxn ang="0">
                    <a:pos x="226" y="160"/>
                  </a:cxn>
                  <a:cxn ang="0">
                    <a:pos x="230" y="170"/>
                  </a:cxn>
                  <a:cxn ang="0">
                    <a:pos x="232" y="180"/>
                  </a:cxn>
                  <a:cxn ang="0">
                    <a:pos x="233" y="191"/>
                  </a:cxn>
                  <a:cxn ang="0">
                    <a:pos x="233" y="204"/>
                  </a:cxn>
                  <a:cxn ang="0">
                    <a:pos x="232" y="216"/>
                  </a:cxn>
                  <a:cxn ang="0">
                    <a:pos x="230" y="228"/>
                  </a:cxn>
                  <a:cxn ang="0">
                    <a:pos x="227" y="240"/>
                  </a:cxn>
                  <a:cxn ang="0">
                    <a:pos x="226" y="252"/>
                  </a:cxn>
                  <a:cxn ang="0">
                    <a:pos x="222" y="252"/>
                  </a:cxn>
                  <a:cxn ang="0">
                    <a:pos x="215" y="250"/>
                  </a:cxn>
                  <a:cxn ang="0">
                    <a:pos x="208" y="246"/>
                  </a:cxn>
                  <a:cxn ang="0">
                    <a:pos x="198" y="241"/>
                  </a:cxn>
                  <a:cxn ang="0">
                    <a:pos x="176" y="226"/>
                  </a:cxn>
                  <a:cxn ang="0">
                    <a:pos x="151" y="208"/>
                  </a:cxn>
                  <a:cxn ang="0">
                    <a:pos x="125" y="186"/>
                  </a:cxn>
                  <a:cxn ang="0">
                    <a:pos x="100" y="165"/>
                  </a:cxn>
                  <a:cxn ang="0">
                    <a:pos x="78" y="145"/>
                  </a:cxn>
                  <a:cxn ang="0">
                    <a:pos x="61" y="129"/>
                  </a:cxn>
                  <a:cxn ang="0">
                    <a:pos x="55" y="125"/>
                  </a:cxn>
                  <a:cxn ang="0">
                    <a:pos x="48" y="120"/>
                  </a:cxn>
                  <a:cxn ang="0">
                    <a:pos x="41" y="116"/>
                  </a:cxn>
                  <a:cxn ang="0">
                    <a:pos x="33" y="112"/>
                  </a:cxn>
                  <a:cxn ang="0">
                    <a:pos x="17" y="104"/>
                  </a:cxn>
                  <a:cxn ang="0">
                    <a:pos x="0" y="99"/>
                  </a:cxn>
                  <a:cxn ang="0">
                    <a:pos x="40" y="63"/>
                  </a:cxn>
                  <a:cxn ang="0">
                    <a:pos x="59" y="43"/>
                  </a:cxn>
                  <a:cxn ang="0">
                    <a:pos x="65" y="33"/>
                  </a:cxn>
                  <a:cxn ang="0">
                    <a:pos x="69" y="25"/>
                  </a:cxn>
                  <a:cxn ang="0">
                    <a:pos x="72" y="14"/>
                  </a:cxn>
                  <a:cxn ang="0">
                    <a:pos x="74" y="0"/>
                  </a:cxn>
                </a:cxnLst>
                <a:rect l="0" t="0" r="r" b="b"/>
                <a:pathLst>
                  <a:path w="233" h="252">
                    <a:moveTo>
                      <a:pt x="74" y="0"/>
                    </a:moveTo>
                    <a:lnTo>
                      <a:pt x="83" y="2"/>
                    </a:lnTo>
                    <a:lnTo>
                      <a:pt x="89" y="3"/>
                    </a:lnTo>
                    <a:lnTo>
                      <a:pt x="95" y="3"/>
                    </a:lnTo>
                    <a:lnTo>
                      <a:pt x="99" y="2"/>
                    </a:lnTo>
                    <a:lnTo>
                      <a:pt x="106" y="1"/>
                    </a:lnTo>
                    <a:lnTo>
                      <a:pt x="113" y="0"/>
                    </a:lnTo>
                    <a:lnTo>
                      <a:pt x="125" y="17"/>
                    </a:lnTo>
                    <a:lnTo>
                      <a:pt x="140" y="37"/>
                    </a:lnTo>
                    <a:lnTo>
                      <a:pt x="144" y="42"/>
                    </a:lnTo>
                    <a:lnTo>
                      <a:pt x="148" y="46"/>
                    </a:lnTo>
                    <a:lnTo>
                      <a:pt x="153" y="49"/>
                    </a:lnTo>
                    <a:lnTo>
                      <a:pt x="157" y="52"/>
                    </a:lnTo>
                    <a:lnTo>
                      <a:pt x="163" y="54"/>
                    </a:lnTo>
                    <a:lnTo>
                      <a:pt x="168" y="56"/>
                    </a:lnTo>
                    <a:lnTo>
                      <a:pt x="174" y="56"/>
                    </a:lnTo>
                    <a:lnTo>
                      <a:pt x="180" y="56"/>
                    </a:lnTo>
                    <a:lnTo>
                      <a:pt x="180" y="80"/>
                    </a:lnTo>
                    <a:lnTo>
                      <a:pt x="193" y="103"/>
                    </a:lnTo>
                    <a:lnTo>
                      <a:pt x="212" y="128"/>
                    </a:lnTo>
                    <a:lnTo>
                      <a:pt x="215" y="135"/>
                    </a:lnTo>
                    <a:lnTo>
                      <a:pt x="220" y="142"/>
                    </a:lnTo>
                    <a:lnTo>
                      <a:pt x="223" y="151"/>
                    </a:lnTo>
                    <a:lnTo>
                      <a:pt x="226" y="160"/>
                    </a:lnTo>
                    <a:lnTo>
                      <a:pt x="230" y="170"/>
                    </a:lnTo>
                    <a:lnTo>
                      <a:pt x="232" y="180"/>
                    </a:lnTo>
                    <a:lnTo>
                      <a:pt x="233" y="191"/>
                    </a:lnTo>
                    <a:lnTo>
                      <a:pt x="233" y="204"/>
                    </a:lnTo>
                    <a:lnTo>
                      <a:pt x="232" y="216"/>
                    </a:lnTo>
                    <a:lnTo>
                      <a:pt x="230" y="228"/>
                    </a:lnTo>
                    <a:lnTo>
                      <a:pt x="227" y="240"/>
                    </a:lnTo>
                    <a:lnTo>
                      <a:pt x="226" y="252"/>
                    </a:lnTo>
                    <a:lnTo>
                      <a:pt x="222" y="252"/>
                    </a:lnTo>
                    <a:lnTo>
                      <a:pt x="215" y="250"/>
                    </a:lnTo>
                    <a:lnTo>
                      <a:pt x="208" y="246"/>
                    </a:lnTo>
                    <a:lnTo>
                      <a:pt x="198" y="241"/>
                    </a:lnTo>
                    <a:lnTo>
                      <a:pt x="176" y="226"/>
                    </a:lnTo>
                    <a:lnTo>
                      <a:pt x="151" y="208"/>
                    </a:lnTo>
                    <a:lnTo>
                      <a:pt x="125" y="186"/>
                    </a:lnTo>
                    <a:lnTo>
                      <a:pt x="100" y="165"/>
                    </a:lnTo>
                    <a:lnTo>
                      <a:pt x="78" y="145"/>
                    </a:lnTo>
                    <a:lnTo>
                      <a:pt x="61" y="129"/>
                    </a:lnTo>
                    <a:lnTo>
                      <a:pt x="55" y="125"/>
                    </a:lnTo>
                    <a:lnTo>
                      <a:pt x="48" y="120"/>
                    </a:lnTo>
                    <a:lnTo>
                      <a:pt x="41" y="116"/>
                    </a:lnTo>
                    <a:lnTo>
                      <a:pt x="33" y="112"/>
                    </a:lnTo>
                    <a:lnTo>
                      <a:pt x="17" y="104"/>
                    </a:lnTo>
                    <a:lnTo>
                      <a:pt x="0" y="99"/>
                    </a:lnTo>
                    <a:lnTo>
                      <a:pt x="40" y="63"/>
                    </a:lnTo>
                    <a:lnTo>
                      <a:pt x="59" y="43"/>
                    </a:lnTo>
                    <a:lnTo>
                      <a:pt x="65" y="33"/>
                    </a:lnTo>
                    <a:lnTo>
                      <a:pt x="69" y="25"/>
                    </a:lnTo>
                    <a:lnTo>
                      <a:pt x="72" y="14"/>
                    </a:lnTo>
                    <a:lnTo>
                      <a:pt x="74" y="0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32" name="Freeform 266"/>
              <p:cNvSpPr>
                <a:spLocks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3199077" y="3252024"/>
                <a:ext cx="220433" cy="358633"/>
              </a:xfrm>
              <a:custGeom>
                <a:avLst/>
                <a:gdLst/>
                <a:ahLst/>
                <a:cxnLst>
                  <a:cxn ang="0">
                    <a:pos x="13" y="376"/>
                  </a:cxn>
                  <a:cxn ang="0">
                    <a:pos x="14" y="367"/>
                  </a:cxn>
                  <a:cxn ang="0">
                    <a:pos x="15" y="359"/>
                  </a:cxn>
                  <a:cxn ang="0">
                    <a:pos x="18" y="351"/>
                  </a:cxn>
                  <a:cxn ang="0">
                    <a:pos x="20" y="344"/>
                  </a:cxn>
                  <a:cxn ang="0">
                    <a:pos x="25" y="333"/>
                  </a:cxn>
                  <a:cxn ang="0">
                    <a:pos x="26" y="327"/>
                  </a:cxn>
                  <a:cxn ang="0">
                    <a:pos x="25" y="321"/>
                  </a:cxn>
                  <a:cxn ang="0">
                    <a:pos x="23" y="314"/>
                  </a:cxn>
                  <a:cxn ang="0">
                    <a:pos x="19" y="305"/>
                  </a:cxn>
                  <a:cxn ang="0">
                    <a:pos x="13" y="295"/>
                  </a:cxn>
                  <a:cxn ang="0">
                    <a:pos x="9" y="285"/>
                  </a:cxn>
                  <a:cxn ang="0">
                    <a:pos x="4" y="275"/>
                  </a:cxn>
                  <a:cxn ang="0">
                    <a:pos x="1" y="267"/>
                  </a:cxn>
                  <a:cxn ang="0">
                    <a:pos x="0" y="259"/>
                  </a:cxn>
                  <a:cxn ang="0">
                    <a:pos x="1" y="251"/>
                  </a:cxn>
                  <a:cxn ang="0">
                    <a:pos x="2" y="243"/>
                  </a:cxn>
                  <a:cxn ang="0">
                    <a:pos x="3" y="236"/>
                  </a:cxn>
                  <a:cxn ang="0">
                    <a:pos x="6" y="230"/>
                  </a:cxn>
                  <a:cxn ang="0">
                    <a:pos x="11" y="218"/>
                  </a:cxn>
                  <a:cxn ang="0">
                    <a:pos x="19" y="207"/>
                  </a:cxn>
                  <a:cxn ang="0">
                    <a:pos x="26" y="197"/>
                  </a:cxn>
                  <a:cxn ang="0">
                    <a:pos x="34" y="185"/>
                  </a:cxn>
                  <a:cxn ang="0">
                    <a:pos x="41" y="173"/>
                  </a:cxn>
                  <a:cxn ang="0">
                    <a:pos x="47" y="160"/>
                  </a:cxn>
                  <a:cxn ang="0">
                    <a:pos x="26" y="73"/>
                  </a:cxn>
                  <a:cxn ang="0">
                    <a:pos x="26" y="50"/>
                  </a:cxn>
                  <a:cxn ang="0">
                    <a:pos x="24" y="33"/>
                  </a:cxn>
                  <a:cxn ang="0">
                    <a:pos x="24" y="25"/>
                  </a:cxn>
                  <a:cxn ang="0">
                    <a:pos x="24" y="16"/>
                  </a:cxn>
                  <a:cxn ang="0">
                    <a:pos x="25" y="8"/>
                  </a:cxn>
                  <a:cxn ang="0">
                    <a:pos x="26" y="0"/>
                  </a:cxn>
                  <a:cxn ang="0">
                    <a:pos x="180" y="0"/>
                  </a:cxn>
                  <a:cxn ang="0">
                    <a:pos x="220" y="129"/>
                  </a:cxn>
                  <a:cxn ang="0">
                    <a:pos x="220" y="210"/>
                  </a:cxn>
                  <a:cxn ang="0">
                    <a:pos x="220" y="220"/>
                  </a:cxn>
                  <a:cxn ang="0">
                    <a:pos x="221" y="230"/>
                  </a:cxn>
                  <a:cxn ang="0">
                    <a:pos x="223" y="240"/>
                  </a:cxn>
                  <a:cxn ang="0">
                    <a:pos x="225" y="250"/>
                  </a:cxn>
                  <a:cxn ang="0">
                    <a:pos x="228" y="259"/>
                  </a:cxn>
                  <a:cxn ang="0">
                    <a:pos x="234" y="268"/>
                  </a:cxn>
                  <a:cxn ang="0">
                    <a:pos x="239" y="278"/>
                  </a:cxn>
                  <a:cxn ang="0">
                    <a:pos x="246" y="289"/>
                  </a:cxn>
                  <a:cxn ang="0">
                    <a:pos x="224" y="295"/>
                  </a:cxn>
                  <a:cxn ang="0">
                    <a:pos x="202" y="302"/>
                  </a:cxn>
                  <a:cxn ang="0">
                    <a:pos x="181" y="310"/>
                  </a:cxn>
                  <a:cxn ang="0">
                    <a:pos x="160" y="319"/>
                  </a:cxn>
                  <a:cxn ang="0">
                    <a:pos x="141" y="328"/>
                  </a:cxn>
                  <a:cxn ang="0">
                    <a:pos x="120" y="338"/>
                  </a:cxn>
                  <a:cxn ang="0">
                    <a:pos x="100" y="347"/>
                  </a:cxn>
                  <a:cxn ang="0">
                    <a:pos x="80" y="358"/>
                  </a:cxn>
                  <a:cxn ang="0">
                    <a:pos x="75" y="363"/>
                  </a:cxn>
                  <a:cxn ang="0">
                    <a:pos x="69" y="367"/>
                  </a:cxn>
                  <a:cxn ang="0">
                    <a:pos x="62" y="372"/>
                  </a:cxn>
                  <a:cxn ang="0">
                    <a:pos x="54" y="376"/>
                  </a:cxn>
                  <a:cxn ang="0">
                    <a:pos x="46" y="379"/>
                  </a:cxn>
                  <a:cxn ang="0">
                    <a:pos x="36" y="380"/>
                  </a:cxn>
                  <a:cxn ang="0">
                    <a:pos x="31" y="380"/>
                  </a:cxn>
                  <a:cxn ang="0">
                    <a:pos x="25" y="379"/>
                  </a:cxn>
                  <a:cxn ang="0">
                    <a:pos x="20" y="378"/>
                  </a:cxn>
                  <a:cxn ang="0">
                    <a:pos x="13" y="376"/>
                  </a:cxn>
                </a:cxnLst>
                <a:rect l="0" t="0" r="r" b="b"/>
                <a:pathLst>
                  <a:path w="246" h="380">
                    <a:moveTo>
                      <a:pt x="13" y="376"/>
                    </a:moveTo>
                    <a:lnTo>
                      <a:pt x="14" y="367"/>
                    </a:lnTo>
                    <a:lnTo>
                      <a:pt x="15" y="359"/>
                    </a:lnTo>
                    <a:lnTo>
                      <a:pt x="18" y="351"/>
                    </a:lnTo>
                    <a:lnTo>
                      <a:pt x="20" y="344"/>
                    </a:lnTo>
                    <a:lnTo>
                      <a:pt x="25" y="333"/>
                    </a:lnTo>
                    <a:lnTo>
                      <a:pt x="26" y="327"/>
                    </a:lnTo>
                    <a:lnTo>
                      <a:pt x="25" y="321"/>
                    </a:lnTo>
                    <a:lnTo>
                      <a:pt x="23" y="314"/>
                    </a:lnTo>
                    <a:lnTo>
                      <a:pt x="19" y="305"/>
                    </a:lnTo>
                    <a:lnTo>
                      <a:pt x="13" y="295"/>
                    </a:lnTo>
                    <a:lnTo>
                      <a:pt x="9" y="285"/>
                    </a:lnTo>
                    <a:lnTo>
                      <a:pt x="4" y="275"/>
                    </a:lnTo>
                    <a:lnTo>
                      <a:pt x="1" y="267"/>
                    </a:lnTo>
                    <a:lnTo>
                      <a:pt x="0" y="259"/>
                    </a:lnTo>
                    <a:lnTo>
                      <a:pt x="1" y="251"/>
                    </a:lnTo>
                    <a:lnTo>
                      <a:pt x="2" y="243"/>
                    </a:lnTo>
                    <a:lnTo>
                      <a:pt x="3" y="236"/>
                    </a:lnTo>
                    <a:lnTo>
                      <a:pt x="6" y="230"/>
                    </a:lnTo>
                    <a:lnTo>
                      <a:pt x="11" y="218"/>
                    </a:lnTo>
                    <a:lnTo>
                      <a:pt x="19" y="207"/>
                    </a:lnTo>
                    <a:lnTo>
                      <a:pt x="26" y="197"/>
                    </a:lnTo>
                    <a:lnTo>
                      <a:pt x="34" y="185"/>
                    </a:lnTo>
                    <a:lnTo>
                      <a:pt x="41" y="173"/>
                    </a:lnTo>
                    <a:lnTo>
                      <a:pt x="47" y="160"/>
                    </a:lnTo>
                    <a:lnTo>
                      <a:pt x="26" y="73"/>
                    </a:lnTo>
                    <a:lnTo>
                      <a:pt x="26" y="50"/>
                    </a:lnTo>
                    <a:lnTo>
                      <a:pt x="24" y="33"/>
                    </a:lnTo>
                    <a:lnTo>
                      <a:pt x="24" y="25"/>
                    </a:lnTo>
                    <a:lnTo>
                      <a:pt x="24" y="16"/>
                    </a:lnTo>
                    <a:lnTo>
                      <a:pt x="25" y="8"/>
                    </a:lnTo>
                    <a:lnTo>
                      <a:pt x="26" y="0"/>
                    </a:lnTo>
                    <a:lnTo>
                      <a:pt x="180" y="0"/>
                    </a:lnTo>
                    <a:lnTo>
                      <a:pt x="220" y="129"/>
                    </a:lnTo>
                    <a:lnTo>
                      <a:pt x="220" y="210"/>
                    </a:lnTo>
                    <a:lnTo>
                      <a:pt x="220" y="220"/>
                    </a:lnTo>
                    <a:lnTo>
                      <a:pt x="221" y="230"/>
                    </a:lnTo>
                    <a:lnTo>
                      <a:pt x="223" y="240"/>
                    </a:lnTo>
                    <a:lnTo>
                      <a:pt x="225" y="250"/>
                    </a:lnTo>
                    <a:lnTo>
                      <a:pt x="228" y="259"/>
                    </a:lnTo>
                    <a:lnTo>
                      <a:pt x="234" y="268"/>
                    </a:lnTo>
                    <a:lnTo>
                      <a:pt x="239" y="278"/>
                    </a:lnTo>
                    <a:lnTo>
                      <a:pt x="246" y="289"/>
                    </a:lnTo>
                    <a:lnTo>
                      <a:pt x="224" y="295"/>
                    </a:lnTo>
                    <a:lnTo>
                      <a:pt x="202" y="302"/>
                    </a:lnTo>
                    <a:lnTo>
                      <a:pt x="181" y="310"/>
                    </a:lnTo>
                    <a:lnTo>
                      <a:pt x="160" y="319"/>
                    </a:lnTo>
                    <a:lnTo>
                      <a:pt x="141" y="328"/>
                    </a:lnTo>
                    <a:lnTo>
                      <a:pt x="120" y="338"/>
                    </a:lnTo>
                    <a:lnTo>
                      <a:pt x="100" y="347"/>
                    </a:lnTo>
                    <a:lnTo>
                      <a:pt x="80" y="358"/>
                    </a:lnTo>
                    <a:lnTo>
                      <a:pt x="75" y="363"/>
                    </a:lnTo>
                    <a:lnTo>
                      <a:pt x="69" y="367"/>
                    </a:lnTo>
                    <a:lnTo>
                      <a:pt x="62" y="372"/>
                    </a:lnTo>
                    <a:lnTo>
                      <a:pt x="54" y="376"/>
                    </a:lnTo>
                    <a:lnTo>
                      <a:pt x="46" y="379"/>
                    </a:lnTo>
                    <a:lnTo>
                      <a:pt x="36" y="380"/>
                    </a:lnTo>
                    <a:lnTo>
                      <a:pt x="31" y="380"/>
                    </a:lnTo>
                    <a:lnTo>
                      <a:pt x="25" y="379"/>
                    </a:lnTo>
                    <a:lnTo>
                      <a:pt x="20" y="378"/>
                    </a:lnTo>
                    <a:lnTo>
                      <a:pt x="13" y="376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33" name="Freeform 267"/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2467633" y="3102358"/>
                <a:ext cx="183695" cy="104485"/>
              </a:xfrm>
              <a:custGeom>
                <a:avLst/>
                <a:gdLst/>
                <a:ahLst/>
                <a:cxnLst>
                  <a:cxn ang="0">
                    <a:pos x="7" y="20"/>
                  </a:cxn>
                  <a:cxn ang="0">
                    <a:pos x="38" y="11"/>
                  </a:cxn>
                  <a:cxn ang="0">
                    <a:pos x="67" y="5"/>
                  </a:cxn>
                  <a:cxn ang="0">
                    <a:pos x="80" y="3"/>
                  </a:cxn>
                  <a:cxn ang="0">
                    <a:pos x="94" y="2"/>
                  </a:cxn>
                  <a:cxn ang="0">
                    <a:pos x="110" y="1"/>
                  </a:cxn>
                  <a:cxn ang="0">
                    <a:pos x="126" y="0"/>
                  </a:cxn>
                  <a:cxn ang="0">
                    <a:pos x="138" y="1"/>
                  </a:cxn>
                  <a:cxn ang="0">
                    <a:pos x="149" y="1"/>
                  </a:cxn>
                  <a:cxn ang="0">
                    <a:pos x="160" y="2"/>
                  </a:cxn>
                  <a:cxn ang="0">
                    <a:pos x="169" y="4"/>
                  </a:cxn>
                  <a:cxn ang="0">
                    <a:pos x="178" y="6"/>
                  </a:cxn>
                  <a:cxn ang="0">
                    <a:pos x="184" y="11"/>
                  </a:cxn>
                  <a:cxn ang="0">
                    <a:pos x="187" y="13"/>
                  </a:cxn>
                  <a:cxn ang="0">
                    <a:pos x="189" y="18"/>
                  </a:cxn>
                  <a:cxn ang="0">
                    <a:pos x="191" y="21"/>
                  </a:cxn>
                  <a:cxn ang="0">
                    <a:pos x="193" y="26"/>
                  </a:cxn>
                  <a:cxn ang="0">
                    <a:pos x="183" y="27"/>
                  </a:cxn>
                  <a:cxn ang="0">
                    <a:pos x="173" y="28"/>
                  </a:cxn>
                  <a:cxn ang="0">
                    <a:pos x="165" y="28"/>
                  </a:cxn>
                  <a:cxn ang="0">
                    <a:pos x="156" y="28"/>
                  </a:cxn>
                  <a:cxn ang="0">
                    <a:pos x="138" y="27"/>
                  </a:cxn>
                  <a:cxn ang="0">
                    <a:pos x="120" y="26"/>
                  </a:cxn>
                  <a:cxn ang="0">
                    <a:pos x="103" y="26"/>
                  </a:cxn>
                  <a:cxn ang="0">
                    <a:pos x="89" y="28"/>
                  </a:cxn>
                  <a:cxn ang="0">
                    <a:pos x="76" y="30"/>
                  </a:cxn>
                  <a:cxn ang="0">
                    <a:pos x="63" y="32"/>
                  </a:cxn>
                  <a:cxn ang="0">
                    <a:pos x="49" y="34"/>
                  </a:cxn>
                  <a:cxn ang="0">
                    <a:pos x="35" y="36"/>
                  </a:cxn>
                  <a:cxn ang="0">
                    <a:pos x="19" y="37"/>
                  </a:cxn>
                  <a:cxn ang="0">
                    <a:pos x="0" y="38"/>
                  </a:cxn>
                  <a:cxn ang="0">
                    <a:pos x="0" y="33"/>
                  </a:cxn>
                  <a:cxn ang="0">
                    <a:pos x="1" y="29"/>
                  </a:cxn>
                  <a:cxn ang="0">
                    <a:pos x="3" y="24"/>
                  </a:cxn>
                  <a:cxn ang="0">
                    <a:pos x="7" y="20"/>
                  </a:cxn>
                </a:cxnLst>
                <a:rect l="0" t="0" r="r" b="b"/>
                <a:pathLst>
                  <a:path w="193" h="38">
                    <a:moveTo>
                      <a:pt x="7" y="20"/>
                    </a:moveTo>
                    <a:lnTo>
                      <a:pt x="38" y="11"/>
                    </a:lnTo>
                    <a:lnTo>
                      <a:pt x="67" y="5"/>
                    </a:lnTo>
                    <a:lnTo>
                      <a:pt x="80" y="3"/>
                    </a:lnTo>
                    <a:lnTo>
                      <a:pt x="94" y="2"/>
                    </a:lnTo>
                    <a:lnTo>
                      <a:pt x="110" y="1"/>
                    </a:lnTo>
                    <a:lnTo>
                      <a:pt x="126" y="0"/>
                    </a:lnTo>
                    <a:lnTo>
                      <a:pt x="138" y="1"/>
                    </a:lnTo>
                    <a:lnTo>
                      <a:pt x="149" y="1"/>
                    </a:lnTo>
                    <a:lnTo>
                      <a:pt x="160" y="2"/>
                    </a:lnTo>
                    <a:lnTo>
                      <a:pt x="169" y="4"/>
                    </a:lnTo>
                    <a:lnTo>
                      <a:pt x="178" y="6"/>
                    </a:lnTo>
                    <a:lnTo>
                      <a:pt x="184" y="11"/>
                    </a:lnTo>
                    <a:lnTo>
                      <a:pt x="187" y="13"/>
                    </a:lnTo>
                    <a:lnTo>
                      <a:pt x="189" y="18"/>
                    </a:lnTo>
                    <a:lnTo>
                      <a:pt x="191" y="21"/>
                    </a:lnTo>
                    <a:lnTo>
                      <a:pt x="193" y="26"/>
                    </a:lnTo>
                    <a:lnTo>
                      <a:pt x="183" y="27"/>
                    </a:lnTo>
                    <a:lnTo>
                      <a:pt x="173" y="28"/>
                    </a:lnTo>
                    <a:lnTo>
                      <a:pt x="165" y="28"/>
                    </a:lnTo>
                    <a:lnTo>
                      <a:pt x="156" y="28"/>
                    </a:lnTo>
                    <a:lnTo>
                      <a:pt x="138" y="27"/>
                    </a:lnTo>
                    <a:lnTo>
                      <a:pt x="120" y="26"/>
                    </a:lnTo>
                    <a:lnTo>
                      <a:pt x="103" y="26"/>
                    </a:lnTo>
                    <a:lnTo>
                      <a:pt x="89" y="28"/>
                    </a:lnTo>
                    <a:lnTo>
                      <a:pt x="76" y="30"/>
                    </a:lnTo>
                    <a:lnTo>
                      <a:pt x="63" y="32"/>
                    </a:lnTo>
                    <a:lnTo>
                      <a:pt x="49" y="34"/>
                    </a:lnTo>
                    <a:lnTo>
                      <a:pt x="35" y="36"/>
                    </a:lnTo>
                    <a:lnTo>
                      <a:pt x="19" y="37"/>
                    </a:lnTo>
                    <a:lnTo>
                      <a:pt x="0" y="38"/>
                    </a:lnTo>
                    <a:lnTo>
                      <a:pt x="0" y="33"/>
                    </a:lnTo>
                    <a:lnTo>
                      <a:pt x="1" y="29"/>
                    </a:lnTo>
                    <a:lnTo>
                      <a:pt x="3" y="24"/>
                    </a:lnTo>
                    <a:lnTo>
                      <a:pt x="7" y="20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34" name="Freeform 268"/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3362728" y="3240733"/>
                <a:ext cx="90178" cy="276741"/>
              </a:xfrm>
              <a:custGeom>
                <a:avLst/>
                <a:gdLst/>
                <a:ahLst/>
                <a:cxnLst>
                  <a:cxn ang="0">
                    <a:pos x="53" y="12"/>
                  </a:cxn>
                  <a:cxn ang="0">
                    <a:pos x="59" y="12"/>
                  </a:cxn>
                  <a:cxn ang="0">
                    <a:pos x="59" y="19"/>
                  </a:cxn>
                  <a:cxn ang="0">
                    <a:pos x="62" y="26"/>
                  </a:cxn>
                  <a:cxn ang="0">
                    <a:pos x="63" y="33"/>
                  </a:cxn>
                  <a:cxn ang="0">
                    <a:pos x="66" y="42"/>
                  </a:cxn>
                  <a:cxn ang="0">
                    <a:pos x="72" y="58"/>
                  </a:cxn>
                  <a:cxn ang="0">
                    <a:pos x="79" y="75"/>
                  </a:cxn>
                  <a:cxn ang="0">
                    <a:pos x="87" y="93"/>
                  </a:cxn>
                  <a:cxn ang="0">
                    <a:pos x="93" y="111"/>
                  </a:cxn>
                  <a:cxn ang="0">
                    <a:pos x="96" y="120"/>
                  </a:cxn>
                  <a:cxn ang="0">
                    <a:pos x="98" y="129"/>
                  </a:cxn>
                  <a:cxn ang="0">
                    <a:pos x="99" y="138"/>
                  </a:cxn>
                  <a:cxn ang="0">
                    <a:pos x="99" y="148"/>
                  </a:cxn>
                  <a:cxn ang="0">
                    <a:pos x="99" y="289"/>
                  </a:cxn>
                  <a:cxn ang="0">
                    <a:pos x="89" y="290"/>
                  </a:cxn>
                  <a:cxn ang="0">
                    <a:pos x="80" y="293"/>
                  </a:cxn>
                  <a:cxn ang="0">
                    <a:pos x="73" y="297"/>
                  </a:cxn>
                  <a:cxn ang="0">
                    <a:pos x="66" y="301"/>
                  </a:cxn>
                  <a:cxn ang="0">
                    <a:pos x="59" y="290"/>
                  </a:cxn>
                  <a:cxn ang="0">
                    <a:pos x="54" y="280"/>
                  </a:cxn>
                  <a:cxn ang="0">
                    <a:pos x="48" y="271"/>
                  </a:cxn>
                  <a:cxn ang="0">
                    <a:pos x="45" y="262"/>
                  </a:cxn>
                  <a:cxn ang="0">
                    <a:pos x="43" y="252"/>
                  </a:cxn>
                  <a:cxn ang="0">
                    <a:pos x="41" y="242"/>
                  </a:cxn>
                  <a:cxn ang="0">
                    <a:pos x="40" y="232"/>
                  </a:cxn>
                  <a:cxn ang="0">
                    <a:pos x="40" y="222"/>
                  </a:cxn>
                  <a:cxn ang="0">
                    <a:pos x="40" y="141"/>
                  </a:cxn>
                  <a:cxn ang="0">
                    <a:pos x="0" y="6"/>
                  </a:cxn>
                  <a:cxn ang="0">
                    <a:pos x="5" y="2"/>
                  </a:cxn>
                  <a:cxn ang="0">
                    <a:pos x="10" y="0"/>
                  </a:cxn>
                  <a:cxn ang="0">
                    <a:pos x="14" y="0"/>
                  </a:cxn>
                  <a:cxn ang="0">
                    <a:pos x="20" y="0"/>
                  </a:cxn>
                  <a:cxn ang="0">
                    <a:pos x="26" y="0"/>
                  </a:cxn>
                  <a:cxn ang="0">
                    <a:pos x="32" y="2"/>
                  </a:cxn>
                  <a:cxn ang="0">
                    <a:pos x="37" y="4"/>
                  </a:cxn>
                  <a:cxn ang="0">
                    <a:pos x="41" y="6"/>
                  </a:cxn>
                  <a:cxn ang="0">
                    <a:pos x="47" y="10"/>
                  </a:cxn>
                  <a:cxn ang="0">
                    <a:pos x="53" y="12"/>
                  </a:cxn>
                </a:cxnLst>
                <a:rect l="0" t="0" r="r" b="b"/>
                <a:pathLst>
                  <a:path w="99" h="301">
                    <a:moveTo>
                      <a:pt x="53" y="12"/>
                    </a:moveTo>
                    <a:lnTo>
                      <a:pt x="59" y="12"/>
                    </a:lnTo>
                    <a:lnTo>
                      <a:pt x="59" y="19"/>
                    </a:lnTo>
                    <a:lnTo>
                      <a:pt x="62" y="26"/>
                    </a:lnTo>
                    <a:lnTo>
                      <a:pt x="63" y="33"/>
                    </a:lnTo>
                    <a:lnTo>
                      <a:pt x="66" y="42"/>
                    </a:lnTo>
                    <a:lnTo>
                      <a:pt x="72" y="58"/>
                    </a:lnTo>
                    <a:lnTo>
                      <a:pt x="79" y="75"/>
                    </a:lnTo>
                    <a:lnTo>
                      <a:pt x="87" y="93"/>
                    </a:lnTo>
                    <a:lnTo>
                      <a:pt x="93" y="111"/>
                    </a:lnTo>
                    <a:lnTo>
                      <a:pt x="96" y="120"/>
                    </a:lnTo>
                    <a:lnTo>
                      <a:pt x="98" y="129"/>
                    </a:lnTo>
                    <a:lnTo>
                      <a:pt x="99" y="138"/>
                    </a:lnTo>
                    <a:lnTo>
                      <a:pt x="99" y="148"/>
                    </a:lnTo>
                    <a:lnTo>
                      <a:pt x="99" y="289"/>
                    </a:lnTo>
                    <a:lnTo>
                      <a:pt x="89" y="290"/>
                    </a:lnTo>
                    <a:lnTo>
                      <a:pt x="80" y="293"/>
                    </a:lnTo>
                    <a:lnTo>
                      <a:pt x="73" y="297"/>
                    </a:lnTo>
                    <a:lnTo>
                      <a:pt x="66" y="301"/>
                    </a:lnTo>
                    <a:lnTo>
                      <a:pt x="59" y="290"/>
                    </a:lnTo>
                    <a:lnTo>
                      <a:pt x="54" y="280"/>
                    </a:lnTo>
                    <a:lnTo>
                      <a:pt x="48" y="271"/>
                    </a:lnTo>
                    <a:lnTo>
                      <a:pt x="45" y="262"/>
                    </a:lnTo>
                    <a:lnTo>
                      <a:pt x="43" y="252"/>
                    </a:lnTo>
                    <a:lnTo>
                      <a:pt x="41" y="242"/>
                    </a:lnTo>
                    <a:lnTo>
                      <a:pt x="40" y="232"/>
                    </a:lnTo>
                    <a:lnTo>
                      <a:pt x="40" y="222"/>
                    </a:lnTo>
                    <a:lnTo>
                      <a:pt x="40" y="141"/>
                    </a:lnTo>
                    <a:lnTo>
                      <a:pt x="0" y="6"/>
                    </a:lnTo>
                    <a:lnTo>
                      <a:pt x="5" y="2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2" y="2"/>
                    </a:lnTo>
                    <a:lnTo>
                      <a:pt x="37" y="4"/>
                    </a:lnTo>
                    <a:lnTo>
                      <a:pt x="41" y="6"/>
                    </a:lnTo>
                    <a:lnTo>
                      <a:pt x="47" y="10"/>
                    </a:lnTo>
                    <a:lnTo>
                      <a:pt x="53" y="12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35" name="Freeform 269"/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3416167" y="3172958"/>
                <a:ext cx="160316" cy="336041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9" y="72"/>
                  </a:cxn>
                  <a:cxn ang="0">
                    <a:pos x="17" y="65"/>
                  </a:cxn>
                  <a:cxn ang="0">
                    <a:pos x="25" y="60"/>
                  </a:cxn>
                  <a:cxn ang="0">
                    <a:pos x="33" y="56"/>
                  </a:cxn>
                  <a:cxn ang="0">
                    <a:pos x="40" y="50"/>
                  </a:cxn>
                  <a:cxn ang="0">
                    <a:pos x="67" y="50"/>
                  </a:cxn>
                  <a:cxn ang="0">
                    <a:pos x="94" y="0"/>
                  </a:cxn>
                  <a:cxn ang="0">
                    <a:pos x="101" y="3"/>
                  </a:cxn>
                  <a:cxn ang="0">
                    <a:pos x="108" y="7"/>
                  </a:cxn>
                  <a:cxn ang="0">
                    <a:pos x="116" y="12"/>
                  </a:cxn>
                  <a:cxn ang="0">
                    <a:pos x="123" y="18"/>
                  </a:cxn>
                  <a:cxn ang="0">
                    <a:pos x="131" y="22"/>
                  </a:cxn>
                  <a:cxn ang="0">
                    <a:pos x="139" y="27"/>
                  </a:cxn>
                  <a:cxn ang="0">
                    <a:pos x="145" y="29"/>
                  </a:cxn>
                  <a:cxn ang="0">
                    <a:pos x="153" y="30"/>
                  </a:cxn>
                  <a:cxn ang="0">
                    <a:pos x="163" y="39"/>
                  </a:cxn>
                  <a:cxn ang="0">
                    <a:pos x="173" y="50"/>
                  </a:cxn>
                  <a:cxn ang="0">
                    <a:pos x="173" y="61"/>
                  </a:cxn>
                  <a:cxn ang="0">
                    <a:pos x="173" y="69"/>
                  </a:cxn>
                  <a:cxn ang="0">
                    <a:pos x="173" y="80"/>
                  </a:cxn>
                  <a:cxn ang="0">
                    <a:pos x="173" y="98"/>
                  </a:cxn>
                  <a:cxn ang="0">
                    <a:pos x="173" y="109"/>
                  </a:cxn>
                  <a:cxn ang="0">
                    <a:pos x="171" y="118"/>
                  </a:cxn>
                  <a:cxn ang="0">
                    <a:pos x="167" y="127"/>
                  </a:cxn>
                  <a:cxn ang="0">
                    <a:pos x="163" y="135"/>
                  </a:cxn>
                  <a:cxn ang="0">
                    <a:pos x="152" y="151"/>
                  </a:cxn>
                  <a:cxn ang="0">
                    <a:pos x="140" y="167"/>
                  </a:cxn>
                  <a:cxn ang="0">
                    <a:pos x="128" y="183"/>
                  </a:cxn>
                  <a:cxn ang="0">
                    <a:pos x="117" y="200"/>
                  </a:cxn>
                  <a:cxn ang="0">
                    <a:pos x="112" y="209"/>
                  </a:cxn>
                  <a:cxn ang="0">
                    <a:pos x="109" y="219"/>
                  </a:cxn>
                  <a:cxn ang="0">
                    <a:pos x="108" y="229"/>
                  </a:cxn>
                  <a:cxn ang="0">
                    <a:pos x="107" y="240"/>
                  </a:cxn>
                  <a:cxn ang="0">
                    <a:pos x="108" y="273"/>
                  </a:cxn>
                  <a:cxn ang="0">
                    <a:pos x="109" y="293"/>
                  </a:cxn>
                  <a:cxn ang="0">
                    <a:pos x="110" y="302"/>
                  </a:cxn>
                  <a:cxn ang="0">
                    <a:pos x="109" y="313"/>
                  </a:cxn>
                  <a:cxn ang="0">
                    <a:pos x="109" y="327"/>
                  </a:cxn>
                  <a:cxn ang="0">
                    <a:pos x="107" y="345"/>
                  </a:cxn>
                  <a:cxn ang="0">
                    <a:pos x="97" y="346"/>
                  </a:cxn>
                  <a:cxn ang="0">
                    <a:pos x="88" y="347"/>
                  </a:cxn>
                  <a:cxn ang="0">
                    <a:pos x="79" y="349"/>
                  </a:cxn>
                  <a:cxn ang="0">
                    <a:pos x="71" y="351"/>
                  </a:cxn>
                  <a:cxn ang="0">
                    <a:pos x="63" y="353"/>
                  </a:cxn>
                  <a:cxn ang="0">
                    <a:pos x="55" y="355"/>
                  </a:cxn>
                  <a:cxn ang="0">
                    <a:pos x="48" y="357"/>
                  </a:cxn>
                  <a:cxn ang="0">
                    <a:pos x="40" y="357"/>
                  </a:cxn>
                  <a:cxn ang="0">
                    <a:pos x="40" y="216"/>
                  </a:cxn>
                  <a:cxn ang="0">
                    <a:pos x="40" y="206"/>
                  </a:cxn>
                  <a:cxn ang="0">
                    <a:pos x="39" y="197"/>
                  </a:cxn>
                  <a:cxn ang="0">
                    <a:pos x="37" y="188"/>
                  </a:cxn>
                  <a:cxn ang="0">
                    <a:pos x="34" y="179"/>
                  </a:cxn>
                  <a:cxn ang="0">
                    <a:pos x="28" y="161"/>
                  </a:cxn>
                  <a:cxn ang="0">
                    <a:pos x="20" y="143"/>
                  </a:cxn>
                  <a:cxn ang="0">
                    <a:pos x="13" y="126"/>
                  </a:cxn>
                  <a:cxn ang="0">
                    <a:pos x="7" y="110"/>
                  </a:cxn>
                  <a:cxn ang="0">
                    <a:pos x="4" y="101"/>
                  </a:cxn>
                  <a:cxn ang="0">
                    <a:pos x="3" y="94"/>
                  </a:cxn>
                  <a:cxn ang="0">
                    <a:pos x="0" y="87"/>
                  </a:cxn>
                  <a:cxn ang="0">
                    <a:pos x="0" y="80"/>
                  </a:cxn>
                </a:cxnLst>
                <a:rect l="0" t="0" r="r" b="b"/>
                <a:pathLst>
                  <a:path w="173" h="357">
                    <a:moveTo>
                      <a:pt x="0" y="80"/>
                    </a:moveTo>
                    <a:lnTo>
                      <a:pt x="9" y="72"/>
                    </a:lnTo>
                    <a:lnTo>
                      <a:pt x="17" y="65"/>
                    </a:lnTo>
                    <a:lnTo>
                      <a:pt x="25" y="60"/>
                    </a:lnTo>
                    <a:lnTo>
                      <a:pt x="33" y="56"/>
                    </a:lnTo>
                    <a:lnTo>
                      <a:pt x="40" y="50"/>
                    </a:lnTo>
                    <a:lnTo>
                      <a:pt x="67" y="50"/>
                    </a:lnTo>
                    <a:lnTo>
                      <a:pt x="94" y="0"/>
                    </a:lnTo>
                    <a:lnTo>
                      <a:pt x="101" y="3"/>
                    </a:lnTo>
                    <a:lnTo>
                      <a:pt x="108" y="7"/>
                    </a:lnTo>
                    <a:lnTo>
                      <a:pt x="116" y="12"/>
                    </a:lnTo>
                    <a:lnTo>
                      <a:pt x="123" y="18"/>
                    </a:lnTo>
                    <a:lnTo>
                      <a:pt x="131" y="22"/>
                    </a:lnTo>
                    <a:lnTo>
                      <a:pt x="139" y="27"/>
                    </a:lnTo>
                    <a:lnTo>
                      <a:pt x="145" y="29"/>
                    </a:lnTo>
                    <a:lnTo>
                      <a:pt x="153" y="30"/>
                    </a:lnTo>
                    <a:lnTo>
                      <a:pt x="163" y="39"/>
                    </a:lnTo>
                    <a:lnTo>
                      <a:pt x="173" y="50"/>
                    </a:lnTo>
                    <a:lnTo>
                      <a:pt x="173" y="61"/>
                    </a:lnTo>
                    <a:lnTo>
                      <a:pt x="173" y="69"/>
                    </a:lnTo>
                    <a:lnTo>
                      <a:pt x="173" y="80"/>
                    </a:lnTo>
                    <a:lnTo>
                      <a:pt x="173" y="98"/>
                    </a:lnTo>
                    <a:lnTo>
                      <a:pt x="173" y="109"/>
                    </a:lnTo>
                    <a:lnTo>
                      <a:pt x="171" y="118"/>
                    </a:lnTo>
                    <a:lnTo>
                      <a:pt x="167" y="127"/>
                    </a:lnTo>
                    <a:lnTo>
                      <a:pt x="163" y="135"/>
                    </a:lnTo>
                    <a:lnTo>
                      <a:pt x="152" y="151"/>
                    </a:lnTo>
                    <a:lnTo>
                      <a:pt x="140" y="167"/>
                    </a:lnTo>
                    <a:lnTo>
                      <a:pt x="128" y="183"/>
                    </a:lnTo>
                    <a:lnTo>
                      <a:pt x="117" y="200"/>
                    </a:lnTo>
                    <a:lnTo>
                      <a:pt x="112" y="209"/>
                    </a:lnTo>
                    <a:lnTo>
                      <a:pt x="109" y="219"/>
                    </a:lnTo>
                    <a:lnTo>
                      <a:pt x="108" y="229"/>
                    </a:lnTo>
                    <a:lnTo>
                      <a:pt x="107" y="240"/>
                    </a:lnTo>
                    <a:lnTo>
                      <a:pt x="108" y="273"/>
                    </a:lnTo>
                    <a:lnTo>
                      <a:pt x="109" y="293"/>
                    </a:lnTo>
                    <a:lnTo>
                      <a:pt x="110" y="302"/>
                    </a:lnTo>
                    <a:lnTo>
                      <a:pt x="109" y="313"/>
                    </a:lnTo>
                    <a:lnTo>
                      <a:pt x="109" y="327"/>
                    </a:lnTo>
                    <a:lnTo>
                      <a:pt x="107" y="345"/>
                    </a:lnTo>
                    <a:lnTo>
                      <a:pt x="97" y="346"/>
                    </a:lnTo>
                    <a:lnTo>
                      <a:pt x="88" y="347"/>
                    </a:lnTo>
                    <a:lnTo>
                      <a:pt x="79" y="349"/>
                    </a:lnTo>
                    <a:lnTo>
                      <a:pt x="71" y="351"/>
                    </a:lnTo>
                    <a:lnTo>
                      <a:pt x="63" y="353"/>
                    </a:lnTo>
                    <a:lnTo>
                      <a:pt x="55" y="355"/>
                    </a:lnTo>
                    <a:lnTo>
                      <a:pt x="48" y="357"/>
                    </a:lnTo>
                    <a:lnTo>
                      <a:pt x="40" y="357"/>
                    </a:lnTo>
                    <a:lnTo>
                      <a:pt x="40" y="216"/>
                    </a:lnTo>
                    <a:lnTo>
                      <a:pt x="40" y="206"/>
                    </a:lnTo>
                    <a:lnTo>
                      <a:pt x="39" y="197"/>
                    </a:lnTo>
                    <a:lnTo>
                      <a:pt x="37" y="188"/>
                    </a:lnTo>
                    <a:lnTo>
                      <a:pt x="34" y="179"/>
                    </a:lnTo>
                    <a:lnTo>
                      <a:pt x="28" y="161"/>
                    </a:lnTo>
                    <a:lnTo>
                      <a:pt x="20" y="143"/>
                    </a:lnTo>
                    <a:lnTo>
                      <a:pt x="13" y="126"/>
                    </a:lnTo>
                    <a:lnTo>
                      <a:pt x="7" y="110"/>
                    </a:lnTo>
                    <a:lnTo>
                      <a:pt x="4" y="101"/>
                    </a:lnTo>
                    <a:lnTo>
                      <a:pt x="3" y="94"/>
                    </a:lnTo>
                    <a:lnTo>
                      <a:pt x="0" y="87"/>
                    </a:lnTo>
                    <a:lnTo>
                      <a:pt x="0" y="80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36" name="Freeform 270"/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949181" y="5316285"/>
                <a:ext cx="53439" cy="107306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6" y="14"/>
                  </a:cxn>
                  <a:cxn ang="0">
                    <a:pos x="2" y="26"/>
                  </a:cxn>
                  <a:cxn ang="0">
                    <a:pos x="0" y="36"/>
                  </a:cxn>
                  <a:cxn ang="0">
                    <a:pos x="0" y="43"/>
                  </a:cxn>
                  <a:cxn ang="0">
                    <a:pos x="0" y="50"/>
                  </a:cxn>
                  <a:cxn ang="0">
                    <a:pos x="2" y="56"/>
                  </a:cxn>
                  <a:cxn ang="0">
                    <a:pos x="6" y="61"/>
                  </a:cxn>
                  <a:cxn ang="0">
                    <a:pos x="10" y="68"/>
                  </a:cxn>
                  <a:cxn ang="0">
                    <a:pos x="50" y="74"/>
                  </a:cxn>
                  <a:cxn ang="0">
                    <a:pos x="50" y="51"/>
                  </a:cxn>
                  <a:cxn ang="0">
                    <a:pos x="50" y="34"/>
                  </a:cxn>
                  <a:cxn ang="0">
                    <a:pos x="50" y="19"/>
                  </a:cxn>
                  <a:cxn ang="0">
                    <a:pos x="50" y="0"/>
                  </a:cxn>
                  <a:cxn ang="0">
                    <a:pos x="38" y="0"/>
                  </a:cxn>
                  <a:cxn ang="0">
                    <a:pos x="25" y="0"/>
                  </a:cxn>
                  <a:cxn ang="0">
                    <a:pos x="14" y="0"/>
                  </a:cxn>
                  <a:cxn ang="0">
                    <a:pos x="10" y="0"/>
                  </a:cxn>
                </a:cxnLst>
                <a:rect l="0" t="0" r="r" b="b"/>
                <a:pathLst>
                  <a:path w="50" h="74">
                    <a:moveTo>
                      <a:pt x="10" y="0"/>
                    </a:moveTo>
                    <a:lnTo>
                      <a:pt x="6" y="14"/>
                    </a:lnTo>
                    <a:lnTo>
                      <a:pt x="2" y="2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0" y="50"/>
                    </a:lnTo>
                    <a:lnTo>
                      <a:pt x="2" y="56"/>
                    </a:lnTo>
                    <a:lnTo>
                      <a:pt x="6" y="61"/>
                    </a:lnTo>
                    <a:lnTo>
                      <a:pt x="10" y="68"/>
                    </a:lnTo>
                    <a:lnTo>
                      <a:pt x="50" y="74"/>
                    </a:lnTo>
                    <a:lnTo>
                      <a:pt x="50" y="51"/>
                    </a:lnTo>
                    <a:lnTo>
                      <a:pt x="50" y="34"/>
                    </a:lnTo>
                    <a:lnTo>
                      <a:pt x="50" y="19"/>
                    </a:lnTo>
                    <a:lnTo>
                      <a:pt x="50" y="0"/>
                    </a:lnTo>
                    <a:lnTo>
                      <a:pt x="38" y="0"/>
                    </a:lnTo>
                    <a:lnTo>
                      <a:pt x="25" y="0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37" name="Freeform 271"/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728751" y="5488539"/>
                <a:ext cx="130255" cy="101661"/>
              </a:xfrm>
              <a:custGeom>
                <a:avLst/>
                <a:gdLst/>
                <a:ahLst/>
                <a:cxnLst>
                  <a:cxn ang="0">
                    <a:pos x="3" y="55"/>
                  </a:cxn>
                  <a:cxn ang="0">
                    <a:pos x="11" y="54"/>
                  </a:cxn>
                  <a:cxn ang="0">
                    <a:pos x="18" y="53"/>
                  </a:cxn>
                  <a:cxn ang="0">
                    <a:pos x="24" y="50"/>
                  </a:cxn>
                  <a:cxn ang="0">
                    <a:pos x="31" y="47"/>
                  </a:cxn>
                  <a:cxn ang="0">
                    <a:pos x="42" y="38"/>
                  </a:cxn>
                  <a:cxn ang="0">
                    <a:pos x="52" y="28"/>
                  </a:cxn>
                  <a:cxn ang="0">
                    <a:pos x="61" y="18"/>
                  </a:cxn>
                  <a:cxn ang="0">
                    <a:pos x="71" y="8"/>
                  </a:cxn>
                  <a:cxn ang="0">
                    <a:pos x="76" y="5"/>
                  </a:cxn>
                  <a:cxn ang="0">
                    <a:pos x="82" y="2"/>
                  </a:cxn>
                  <a:cxn ang="0">
                    <a:pos x="88" y="0"/>
                  </a:cxn>
                  <a:cxn ang="0">
                    <a:pos x="96" y="0"/>
                  </a:cxn>
                  <a:cxn ang="0">
                    <a:pos x="102" y="0"/>
                  </a:cxn>
                  <a:cxn ang="0">
                    <a:pos x="110" y="3"/>
                  </a:cxn>
                  <a:cxn ang="0">
                    <a:pos x="117" y="6"/>
                  </a:cxn>
                  <a:cxn ang="0">
                    <a:pos x="123" y="11"/>
                  </a:cxn>
                  <a:cxn ang="0">
                    <a:pos x="128" y="16"/>
                  </a:cxn>
                  <a:cxn ang="0">
                    <a:pos x="132" y="24"/>
                  </a:cxn>
                  <a:cxn ang="0">
                    <a:pos x="134" y="30"/>
                  </a:cxn>
                  <a:cxn ang="0">
                    <a:pos x="135" y="37"/>
                  </a:cxn>
                  <a:cxn ang="0">
                    <a:pos x="134" y="40"/>
                  </a:cxn>
                  <a:cxn ang="0">
                    <a:pos x="132" y="43"/>
                  </a:cxn>
                  <a:cxn ang="0">
                    <a:pos x="129" y="47"/>
                  </a:cxn>
                  <a:cxn ang="0">
                    <a:pos x="124" y="51"/>
                  </a:cxn>
                  <a:cxn ang="0">
                    <a:pos x="113" y="61"/>
                  </a:cxn>
                  <a:cxn ang="0">
                    <a:pos x="100" y="72"/>
                  </a:cxn>
                  <a:cxn ang="0">
                    <a:pos x="87" y="82"/>
                  </a:cxn>
                  <a:cxn ang="0">
                    <a:pos x="74" y="91"/>
                  </a:cxn>
                  <a:cxn ang="0">
                    <a:pos x="63" y="96"/>
                  </a:cxn>
                  <a:cxn ang="0">
                    <a:pos x="55" y="98"/>
                  </a:cxn>
                  <a:cxn ang="0">
                    <a:pos x="51" y="97"/>
                  </a:cxn>
                  <a:cxn ang="0">
                    <a:pos x="43" y="92"/>
                  </a:cxn>
                  <a:cxn ang="0">
                    <a:pos x="32" y="85"/>
                  </a:cxn>
                  <a:cxn ang="0">
                    <a:pos x="21" y="77"/>
                  </a:cxn>
                  <a:cxn ang="0">
                    <a:pos x="11" y="68"/>
                  </a:cxn>
                  <a:cxn ang="0">
                    <a:pos x="5" y="62"/>
                  </a:cxn>
                  <a:cxn ang="0">
                    <a:pos x="1" y="59"/>
                  </a:cxn>
                  <a:cxn ang="0">
                    <a:pos x="0" y="57"/>
                  </a:cxn>
                  <a:cxn ang="0">
                    <a:pos x="0" y="56"/>
                  </a:cxn>
                  <a:cxn ang="0">
                    <a:pos x="3" y="55"/>
                  </a:cxn>
                </a:cxnLst>
                <a:rect l="0" t="0" r="r" b="b"/>
                <a:pathLst>
                  <a:path w="135" h="98">
                    <a:moveTo>
                      <a:pt x="3" y="55"/>
                    </a:moveTo>
                    <a:lnTo>
                      <a:pt x="11" y="54"/>
                    </a:lnTo>
                    <a:lnTo>
                      <a:pt x="18" y="53"/>
                    </a:lnTo>
                    <a:lnTo>
                      <a:pt x="24" y="50"/>
                    </a:lnTo>
                    <a:lnTo>
                      <a:pt x="31" y="47"/>
                    </a:lnTo>
                    <a:lnTo>
                      <a:pt x="42" y="38"/>
                    </a:lnTo>
                    <a:lnTo>
                      <a:pt x="52" y="28"/>
                    </a:lnTo>
                    <a:lnTo>
                      <a:pt x="61" y="18"/>
                    </a:lnTo>
                    <a:lnTo>
                      <a:pt x="71" y="8"/>
                    </a:lnTo>
                    <a:lnTo>
                      <a:pt x="76" y="5"/>
                    </a:lnTo>
                    <a:lnTo>
                      <a:pt x="82" y="2"/>
                    </a:lnTo>
                    <a:lnTo>
                      <a:pt x="88" y="0"/>
                    </a:lnTo>
                    <a:lnTo>
                      <a:pt x="96" y="0"/>
                    </a:lnTo>
                    <a:lnTo>
                      <a:pt x="102" y="0"/>
                    </a:lnTo>
                    <a:lnTo>
                      <a:pt x="110" y="3"/>
                    </a:lnTo>
                    <a:lnTo>
                      <a:pt x="117" y="6"/>
                    </a:lnTo>
                    <a:lnTo>
                      <a:pt x="123" y="11"/>
                    </a:lnTo>
                    <a:lnTo>
                      <a:pt x="128" y="16"/>
                    </a:lnTo>
                    <a:lnTo>
                      <a:pt x="132" y="24"/>
                    </a:lnTo>
                    <a:lnTo>
                      <a:pt x="134" y="30"/>
                    </a:lnTo>
                    <a:lnTo>
                      <a:pt x="135" y="37"/>
                    </a:lnTo>
                    <a:lnTo>
                      <a:pt x="134" y="40"/>
                    </a:lnTo>
                    <a:lnTo>
                      <a:pt x="132" y="43"/>
                    </a:lnTo>
                    <a:lnTo>
                      <a:pt x="129" y="47"/>
                    </a:lnTo>
                    <a:lnTo>
                      <a:pt x="124" y="51"/>
                    </a:lnTo>
                    <a:lnTo>
                      <a:pt x="113" y="61"/>
                    </a:lnTo>
                    <a:lnTo>
                      <a:pt x="100" y="72"/>
                    </a:lnTo>
                    <a:lnTo>
                      <a:pt x="87" y="82"/>
                    </a:lnTo>
                    <a:lnTo>
                      <a:pt x="74" y="91"/>
                    </a:lnTo>
                    <a:lnTo>
                      <a:pt x="63" y="96"/>
                    </a:lnTo>
                    <a:lnTo>
                      <a:pt x="55" y="98"/>
                    </a:lnTo>
                    <a:lnTo>
                      <a:pt x="51" y="97"/>
                    </a:lnTo>
                    <a:lnTo>
                      <a:pt x="43" y="92"/>
                    </a:lnTo>
                    <a:lnTo>
                      <a:pt x="32" y="85"/>
                    </a:lnTo>
                    <a:lnTo>
                      <a:pt x="21" y="77"/>
                    </a:lnTo>
                    <a:lnTo>
                      <a:pt x="11" y="68"/>
                    </a:lnTo>
                    <a:lnTo>
                      <a:pt x="5" y="62"/>
                    </a:lnTo>
                    <a:lnTo>
                      <a:pt x="1" y="59"/>
                    </a:lnTo>
                    <a:lnTo>
                      <a:pt x="0" y="57"/>
                    </a:lnTo>
                    <a:lnTo>
                      <a:pt x="0" y="56"/>
                    </a:lnTo>
                    <a:lnTo>
                      <a:pt x="3" y="55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38" name="Freeform 355"/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508315" y="2568649"/>
                <a:ext cx="865034" cy="1087193"/>
              </a:xfrm>
              <a:custGeom>
                <a:avLst/>
                <a:gdLst/>
                <a:ahLst/>
                <a:cxnLst>
                  <a:cxn ang="0">
                    <a:pos x="742" y="5"/>
                  </a:cxn>
                  <a:cxn ang="0">
                    <a:pos x="765" y="23"/>
                  </a:cxn>
                  <a:cxn ang="0">
                    <a:pos x="803" y="30"/>
                  </a:cxn>
                  <a:cxn ang="0">
                    <a:pos x="814" y="55"/>
                  </a:cxn>
                  <a:cxn ang="0">
                    <a:pos x="835" y="109"/>
                  </a:cxn>
                  <a:cxn ang="0">
                    <a:pos x="837" y="187"/>
                  </a:cxn>
                  <a:cxn ang="0">
                    <a:pos x="857" y="243"/>
                  </a:cxn>
                  <a:cxn ang="0">
                    <a:pos x="922" y="292"/>
                  </a:cxn>
                  <a:cxn ang="0">
                    <a:pos x="879" y="361"/>
                  </a:cxn>
                  <a:cxn ang="0">
                    <a:pos x="851" y="410"/>
                  </a:cxn>
                  <a:cxn ang="0">
                    <a:pos x="809" y="635"/>
                  </a:cxn>
                  <a:cxn ang="0">
                    <a:pos x="770" y="677"/>
                  </a:cxn>
                  <a:cxn ang="0">
                    <a:pos x="763" y="721"/>
                  </a:cxn>
                  <a:cxn ang="0">
                    <a:pos x="745" y="735"/>
                  </a:cxn>
                  <a:cxn ang="0">
                    <a:pos x="723" y="798"/>
                  </a:cxn>
                  <a:cxn ang="0">
                    <a:pos x="692" y="877"/>
                  </a:cxn>
                  <a:cxn ang="0">
                    <a:pos x="662" y="903"/>
                  </a:cxn>
                  <a:cxn ang="0">
                    <a:pos x="664" y="934"/>
                  </a:cxn>
                  <a:cxn ang="0">
                    <a:pos x="686" y="939"/>
                  </a:cxn>
                  <a:cxn ang="0">
                    <a:pos x="709" y="950"/>
                  </a:cxn>
                  <a:cxn ang="0">
                    <a:pos x="742" y="971"/>
                  </a:cxn>
                  <a:cxn ang="0">
                    <a:pos x="756" y="1007"/>
                  </a:cxn>
                  <a:cxn ang="0">
                    <a:pos x="775" y="1043"/>
                  </a:cxn>
                  <a:cxn ang="0">
                    <a:pos x="803" y="1053"/>
                  </a:cxn>
                  <a:cxn ang="0">
                    <a:pos x="809" y="1094"/>
                  </a:cxn>
                  <a:cxn ang="0">
                    <a:pos x="718" y="1115"/>
                  </a:cxn>
                  <a:cxn ang="0">
                    <a:pos x="687" y="1157"/>
                  </a:cxn>
                  <a:cxn ang="0">
                    <a:pos x="598" y="1170"/>
                  </a:cxn>
                  <a:cxn ang="0">
                    <a:pos x="515" y="1158"/>
                  </a:cxn>
                  <a:cxn ang="0">
                    <a:pos x="464" y="1123"/>
                  </a:cxn>
                  <a:cxn ang="0">
                    <a:pos x="390" y="1125"/>
                  </a:cxn>
                  <a:cxn ang="0">
                    <a:pos x="319" y="1120"/>
                  </a:cxn>
                  <a:cxn ang="0">
                    <a:pos x="297" y="1104"/>
                  </a:cxn>
                  <a:cxn ang="0">
                    <a:pos x="294" y="1075"/>
                  </a:cxn>
                  <a:cxn ang="0">
                    <a:pos x="274" y="1029"/>
                  </a:cxn>
                  <a:cxn ang="0">
                    <a:pos x="216" y="974"/>
                  </a:cxn>
                  <a:cxn ang="0">
                    <a:pos x="193" y="925"/>
                  </a:cxn>
                  <a:cxn ang="0">
                    <a:pos x="152" y="903"/>
                  </a:cxn>
                  <a:cxn ang="0">
                    <a:pos x="120" y="846"/>
                  </a:cxn>
                  <a:cxn ang="0">
                    <a:pos x="97" y="788"/>
                  </a:cxn>
                  <a:cxn ang="0">
                    <a:pos x="65" y="758"/>
                  </a:cxn>
                  <a:cxn ang="0">
                    <a:pos x="33" y="676"/>
                  </a:cxn>
                  <a:cxn ang="0">
                    <a:pos x="4" y="611"/>
                  </a:cxn>
                  <a:cxn ang="0">
                    <a:pos x="18" y="577"/>
                  </a:cxn>
                  <a:cxn ang="0">
                    <a:pos x="29" y="521"/>
                  </a:cxn>
                  <a:cxn ang="0">
                    <a:pos x="64" y="474"/>
                  </a:cxn>
                  <a:cxn ang="0">
                    <a:pos x="113" y="222"/>
                  </a:cxn>
                  <a:cxn ang="0">
                    <a:pos x="123" y="179"/>
                  </a:cxn>
                  <a:cxn ang="0">
                    <a:pos x="153" y="171"/>
                  </a:cxn>
                  <a:cxn ang="0">
                    <a:pos x="160" y="122"/>
                  </a:cxn>
                  <a:cxn ang="0">
                    <a:pos x="159" y="67"/>
                  </a:cxn>
                  <a:cxn ang="0">
                    <a:pos x="679" y="69"/>
                  </a:cxn>
                </a:cxnLst>
                <a:rect l="0" t="0" r="r" b="b"/>
                <a:pathLst>
                  <a:path w="943" h="1172">
                    <a:moveTo>
                      <a:pt x="711" y="30"/>
                    </a:moveTo>
                    <a:lnTo>
                      <a:pt x="715" y="25"/>
                    </a:lnTo>
                    <a:lnTo>
                      <a:pt x="728" y="15"/>
                    </a:lnTo>
                    <a:lnTo>
                      <a:pt x="735" y="9"/>
                    </a:lnTo>
                    <a:lnTo>
                      <a:pt x="742" y="5"/>
                    </a:lnTo>
                    <a:lnTo>
                      <a:pt x="747" y="1"/>
                    </a:lnTo>
                    <a:lnTo>
                      <a:pt x="751" y="0"/>
                    </a:lnTo>
                    <a:lnTo>
                      <a:pt x="755" y="10"/>
                    </a:lnTo>
                    <a:lnTo>
                      <a:pt x="759" y="17"/>
                    </a:lnTo>
                    <a:lnTo>
                      <a:pt x="765" y="23"/>
                    </a:lnTo>
                    <a:lnTo>
                      <a:pt x="769" y="26"/>
                    </a:lnTo>
                    <a:lnTo>
                      <a:pt x="776" y="28"/>
                    </a:lnTo>
                    <a:lnTo>
                      <a:pt x="784" y="30"/>
                    </a:lnTo>
                    <a:lnTo>
                      <a:pt x="792" y="30"/>
                    </a:lnTo>
                    <a:lnTo>
                      <a:pt x="803" y="30"/>
                    </a:lnTo>
                    <a:lnTo>
                      <a:pt x="804" y="40"/>
                    </a:lnTo>
                    <a:lnTo>
                      <a:pt x="808" y="48"/>
                    </a:lnTo>
                    <a:lnTo>
                      <a:pt x="810" y="51"/>
                    </a:lnTo>
                    <a:lnTo>
                      <a:pt x="812" y="53"/>
                    </a:lnTo>
                    <a:lnTo>
                      <a:pt x="814" y="55"/>
                    </a:lnTo>
                    <a:lnTo>
                      <a:pt x="816" y="55"/>
                    </a:lnTo>
                    <a:lnTo>
                      <a:pt x="823" y="76"/>
                    </a:lnTo>
                    <a:lnTo>
                      <a:pt x="830" y="94"/>
                    </a:lnTo>
                    <a:lnTo>
                      <a:pt x="832" y="102"/>
                    </a:lnTo>
                    <a:lnTo>
                      <a:pt x="835" y="109"/>
                    </a:lnTo>
                    <a:lnTo>
                      <a:pt x="836" y="116"/>
                    </a:lnTo>
                    <a:lnTo>
                      <a:pt x="837" y="123"/>
                    </a:lnTo>
                    <a:lnTo>
                      <a:pt x="836" y="150"/>
                    </a:lnTo>
                    <a:lnTo>
                      <a:pt x="836" y="175"/>
                    </a:lnTo>
                    <a:lnTo>
                      <a:pt x="837" y="187"/>
                    </a:lnTo>
                    <a:lnTo>
                      <a:pt x="838" y="200"/>
                    </a:lnTo>
                    <a:lnTo>
                      <a:pt x="842" y="211"/>
                    </a:lnTo>
                    <a:lnTo>
                      <a:pt x="845" y="222"/>
                    </a:lnTo>
                    <a:lnTo>
                      <a:pt x="851" y="232"/>
                    </a:lnTo>
                    <a:lnTo>
                      <a:pt x="857" y="243"/>
                    </a:lnTo>
                    <a:lnTo>
                      <a:pt x="866" y="253"/>
                    </a:lnTo>
                    <a:lnTo>
                      <a:pt x="876" y="264"/>
                    </a:lnTo>
                    <a:lnTo>
                      <a:pt x="889" y="273"/>
                    </a:lnTo>
                    <a:lnTo>
                      <a:pt x="904" y="283"/>
                    </a:lnTo>
                    <a:lnTo>
                      <a:pt x="922" y="292"/>
                    </a:lnTo>
                    <a:lnTo>
                      <a:pt x="943" y="301"/>
                    </a:lnTo>
                    <a:lnTo>
                      <a:pt x="928" y="314"/>
                    </a:lnTo>
                    <a:lnTo>
                      <a:pt x="913" y="328"/>
                    </a:lnTo>
                    <a:lnTo>
                      <a:pt x="896" y="344"/>
                    </a:lnTo>
                    <a:lnTo>
                      <a:pt x="879" y="361"/>
                    </a:lnTo>
                    <a:lnTo>
                      <a:pt x="871" y="370"/>
                    </a:lnTo>
                    <a:lnTo>
                      <a:pt x="865" y="380"/>
                    </a:lnTo>
                    <a:lnTo>
                      <a:pt x="859" y="389"/>
                    </a:lnTo>
                    <a:lnTo>
                      <a:pt x="854" y="399"/>
                    </a:lnTo>
                    <a:lnTo>
                      <a:pt x="851" y="410"/>
                    </a:lnTo>
                    <a:lnTo>
                      <a:pt x="849" y="420"/>
                    </a:lnTo>
                    <a:lnTo>
                      <a:pt x="848" y="432"/>
                    </a:lnTo>
                    <a:lnTo>
                      <a:pt x="851" y="443"/>
                    </a:lnTo>
                    <a:lnTo>
                      <a:pt x="830" y="616"/>
                    </a:lnTo>
                    <a:lnTo>
                      <a:pt x="809" y="635"/>
                    </a:lnTo>
                    <a:lnTo>
                      <a:pt x="787" y="652"/>
                    </a:lnTo>
                    <a:lnTo>
                      <a:pt x="782" y="658"/>
                    </a:lnTo>
                    <a:lnTo>
                      <a:pt x="778" y="663"/>
                    </a:lnTo>
                    <a:lnTo>
                      <a:pt x="774" y="670"/>
                    </a:lnTo>
                    <a:lnTo>
                      <a:pt x="770" y="677"/>
                    </a:lnTo>
                    <a:lnTo>
                      <a:pt x="767" y="686"/>
                    </a:lnTo>
                    <a:lnTo>
                      <a:pt x="766" y="696"/>
                    </a:lnTo>
                    <a:lnTo>
                      <a:pt x="764" y="708"/>
                    </a:lnTo>
                    <a:lnTo>
                      <a:pt x="764" y="721"/>
                    </a:lnTo>
                    <a:lnTo>
                      <a:pt x="763" y="721"/>
                    </a:lnTo>
                    <a:lnTo>
                      <a:pt x="758" y="721"/>
                    </a:lnTo>
                    <a:lnTo>
                      <a:pt x="755" y="723"/>
                    </a:lnTo>
                    <a:lnTo>
                      <a:pt x="752" y="726"/>
                    </a:lnTo>
                    <a:lnTo>
                      <a:pt x="748" y="730"/>
                    </a:lnTo>
                    <a:lnTo>
                      <a:pt x="745" y="735"/>
                    </a:lnTo>
                    <a:lnTo>
                      <a:pt x="741" y="743"/>
                    </a:lnTo>
                    <a:lnTo>
                      <a:pt x="736" y="752"/>
                    </a:lnTo>
                    <a:lnTo>
                      <a:pt x="732" y="766"/>
                    </a:lnTo>
                    <a:lnTo>
                      <a:pt x="728" y="780"/>
                    </a:lnTo>
                    <a:lnTo>
                      <a:pt x="723" y="798"/>
                    </a:lnTo>
                    <a:lnTo>
                      <a:pt x="719" y="821"/>
                    </a:lnTo>
                    <a:lnTo>
                      <a:pt x="714" y="845"/>
                    </a:lnTo>
                    <a:lnTo>
                      <a:pt x="711" y="875"/>
                    </a:lnTo>
                    <a:lnTo>
                      <a:pt x="701" y="875"/>
                    </a:lnTo>
                    <a:lnTo>
                      <a:pt x="692" y="877"/>
                    </a:lnTo>
                    <a:lnTo>
                      <a:pt x="684" y="880"/>
                    </a:lnTo>
                    <a:lnTo>
                      <a:pt x="677" y="884"/>
                    </a:lnTo>
                    <a:lnTo>
                      <a:pt x="670" y="890"/>
                    </a:lnTo>
                    <a:lnTo>
                      <a:pt x="665" y="896"/>
                    </a:lnTo>
                    <a:lnTo>
                      <a:pt x="662" y="903"/>
                    </a:lnTo>
                    <a:lnTo>
                      <a:pt x="659" y="910"/>
                    </a:lnTo>
                    <a:lnTo>
                      <a:pt x="658" y="917"/>
                    </a:lnTo>
                    <a:lnTo>
                      <a:pt x="658" y="924"/>
                    </a:lnTo>
                    <a:lnTo>
                      <a:pt x="661" y="929"/>
                    </a:lnTo>
                    <a:lnTo>
                      <a:pt x="664" y="934"/>
                    </a:lnTo>
                    <a:lnTo>
                      <a:pt x="666" y="936"/>
                    </a:lnTo>
                    <a:lnTo>
                      <a:pt x="669" y="937"/>
                    </a:lnTo>
                    <a:lnTo>
                      <a:pt x="673" y="938"/>
                    </a:lnTo>
                    <a:lnTo>
                      <a:pt x="677" y="939"/>
                    </a:lnTo>
                    <a:lnTo>
                      <a:pt x="686" y="939"/>
                    </a:lnTo>
                    <a:lnTo>
                      <a:pt x="697" y="936"/>
                    </a:lnTo>
                    <a:lnTo>
                      <a:pt x="700" y="941"/>
                    </a:lnTo>
                    <a:lnTo>
                      <a:pt x="702" y="944"/>
                    </a:lnTo>
                    <a:lnTo>
                      <a:pt x="706" y="947"/>
                    </a:lnTo>
                    <a:lnTo>
                      <a:pt x="709" y="950"/>
                    </a:lnTo>
                    <a:lnTo>
                      <a:pt x="717" y="955"/>
                    </a:lnTo>
                    <a:lnTo>
                      <a:pt x="724" y="958"/>
                    </a:lnTo>
                    <a:lnTo>
                      <a:pt x="731" y="963"/>
                    </a:lnTo>
                    <a:lnTo>
                      <a:pt x="739" y="968"/>
                    </a:lnTo>
                    <a:lnTo>
                      <a:pt x="742" y="971"/>
                    </a:lnTo>
                    <a:lnTo>
                      <a:pt x="745" y="975"/>
                    </a:lnTo>
                    <a:lnTo>
                      <a:pt x="747" y="981"/>
                    </a:lnTo>
                    <a:lnTo>
                      <a:pt x="751" y="986"/>
                    </a:lnTo>
                    <a:lnTo>
                      <a:pt x="753" y="996"/>
                    </a:lnTo>
                    <a:lnTo>
                      <a:pt x="756" y="1007"/>
                    </a:lnTo>
                    <a:lnTo>
                      <a:pt x="759" y="1018"/>
                    </a:lnTo>
                    <a:lnTo>
                      <a:pt x="765" y="1028"/>
                    </a:lnTo>
                    <a:lnTo>
                      <a:pt x="767" y="1033"/>
                    </a:lnTo>
                    <a:lnTo>
                      <a:pt x="771" y="1039"/>
                    </a:lnTo>
                    <a:lnTo>
                      <a:pt x="775" y="1043"/>
                    </a:lnTo>
                    <a:lnTo>
                      <a:pt x="779" y="1046"/>
                    </a:lnTo>
                    <a:lnTo>
                      <a:pt x="785" y="1049"/>
                    </a:lnTo>
                    <a:lnTo>
                      <a:pt x="790" y="1052"/>
                    </a:lnTo>
                    <a:lnTo>
                      <a:pt x="797" y="1053"/>
                    </a:lnTo>
                    <a:lnTo>
                      <a:pt x="803" y="1053"/>
                    </a:lnTo>
                    <a:lnTo>
                      <a:pt x="810" y="1063"/>
                    </a:lnTo>
                    <a:lnTo>
                      <a:pt x="814" y="1071"/>
                    </a:lnTo>
                    <a:lnTo>
                      <a:pt x="815" y="1076"/>
                    </a:lnTo>
                    <a:lnTo>
                      <a:pt x="815" y="1081"/>
                    </a:lnTo>
                    <a:lnTo>
                      <a:pt x="809" y="1094"/>
                    </a:lnTo>
                    <a:lnTo>
                      <a:pt x="797" y="1115"/>
                    </a:lnTo>
                    <a:lnTo>
                      <a:pt x="776" y="1115"/>
                    </a:lnTo>
                    <a:lnTo>
                      <a:pt x="755" y="1115"/>
                    </a:lnTo>
                    <a:lnTo>
                      <a:pt x="734" y="1115"/>
                    </a:lnTo>
                    <a:lnTo>
                      <a:pt x="718" y="1115"/>
                    </a:lnTo>
                    <a:lnTo>
                      <a:pt x="718" y="1127"/>
                    </a:lnTo>
                    <a:lnTo>
                      <a:pt x="718" y="1139"/>
                    </a:lnTo>
                    <a:lnTo>
                      <a:pt x="711" y="1143"/>
                    </a:lnTo>
                    <a:lnTo>
                      <a:pt x="697" y="1152"/>
                    </a:lnTo>
                    <a:lnTo>
                      <a:pt x="687" y="1157"/>
                    </a:lnTo>
                    <a:lnTo>
                      <a:pt x="675" y="1161"/>
                    </a:lnTo>
                    <a:lnTo>
                      <a:pt x="663" y="1163"/>
                    </a:lnTo>
                    <a:lnTo>
                      <a:pt x="651" y="1164"/>
                    </a:lnTo>
                    <a:lnTo>
                      <a:pt x="628" y="1166"/>
                    </a:lnTo>
                    <a:lnTo>
                      <a:pt x="598" y="1170"/>
                    </a:lnTo>
                    <a:lnTo>
                      <a:pt x="583" y="1171"/>
                    </a:lnTo>
                    <a:lnTo>
                      <a:pt x="566" y="1172"/>
                    </a:lnTo>
                    <a:lnTo>
                      <a:pt x="549" y="1172"/>
                    </a:lnTo>
                    <a:lnTo>
                      <a:pt x="531" y="1170"/>
                    </a:lnTo>
                    <a:lnTo>
                      <a:pt x="515" y="1158"/>
                    </a:lnTo>
                    <a:lnTo>
                      <a:pt x="496" y="1141"/>
                    </a:lnTo>
                    <a:lnTo>
                      <a:pt x="486" y="1133"/>
                    </a:lnTo>
                    <a:lnTo>
                      <a:pt x="475" y="1127"/>
                    </a:lnTo>
                    <a:lnTo>
                      <a:pt x="470" y="1124"/>
                    </a:lnTo>
                    <a:lnTo>
                      <a:pt x="464" y="1123"/>
                    </a:lnTo>
                    <a:lnTo>
                      <a:pt x="457" y="1121"/>
                    </a:lnTo>
                    <a:lnTo>
                      <a:pt x="452" y="1121"/>
                    </a:lnTo>
                    <a:lnTo>
                      <a:pt x="432" y="1122"/>
                    </a:lnTo>
                    <a:lnTo>
                      <a:pt x="405" y="1124"/>
                    </a:lnTo>
                    <a:lnTo>
                      <a:pt x="390" y="1125"/>
                    </a:lnTo>
                    <a:lnTo>
                      <a:pt x="375" y="1126"/>
                    </a:lnTo>
                    <a:lnTo>
                      <a:pt x="360" y="1126"/>
                    </a:lnTo>
                    <a:lnTo>
                      <a:pt x="345" y="1125"/>
                    </a:lnTo>
                    <a:lnTo>
                      <a:pt x="331" y="1123"/>
                    </a:lnTo>
                    <a:lnTo>
                      <a:pt x="319" y="1120"/>
                    </a:lnTo>
                    <a:lnTo>
                      <a:pt x="314" y="1117"/>
                    </a:lnTo>
                    <a:lnTo>
                      <a:pt x="308" y="1115"/>
                    </a:lnTo>
                    <a:lnTo>
                      <a:pt x="304" y="1112"/>
                    </a:lnTo>
                    <a:lnTo>
                      <a:pt x="300" y="1108"/>
                    </a:lnTo>
                    <a:lnTo>
                      <a:pt x="297" y="1104"/>
                    </a:lnTo>
                    <a:lnTo>
                      <a:pt x="295" y="1100"/>
                    </a:lnTo>
                    <a:lnTo>
                      <a:pt x="293" y="1095"/>
                    </a:lnTo>
                    <a:lnTo>
                      <a:pt x="292" y="1088"/>
                    </a:lnTo>
                    <a:lnTo>
                      <a:pt x="293" y="1082"/>
                    </a:lnTo>
                    <a:lnTo>
                      <a:pt x="294" y="1075"/>
                    </a:lnTo>
                    <a:lnTo>
                      <a:pt x="295" y="1068"/>
                    </a:lnTo>
                    <a:lnTo>
                      <a:pt x="298" y="1060"/>
                    </a:lnTo>
                    <a:lnTo>
                      <a:pt x="291" y="1049"/>
                    </a:lnTo>
                    <a:lnTo>
                      <a:pt x="283" y="1039"/>
                    </a:lnTo>
                    <a:lnTo>
                      <a:pt x="274" y="1029"/>
                    </a:lnTo>
                    <a:lnTo>
                      <a:pt x="265" y="1021"/>
                    </a:lnTo>
                    <a:lnTo>
                      <a:pt x="248" y="1005"/>
                    </a:lnTo>
                    <a:lnTo>
                      <a:pt x="230" y="990"/>
                    </a:lnTo>
                    <a:lnTo>
                      <a:pt x="222" y="983"/>
                    </a:lnTo>
                    <a:lnTo>
                      <a:pt x="216" y="974"/>
                    </a:lnTo>
                    <a:lnTo>
                      <a:pt x="209" y="966"/>
                    </a:lnTo>
                    <a:lnTo>
                      <a:pt x="204" y="957"/>
                    </a:lnTo>
                    <a:lnTo>
                      <a:pt x="198" y="947"/>
                    </a:lnTo>
                    <a:lnTo>
                      <a:pt x="195" y="937"/>
                    </a:lnTo>
                    <a:lnTo>
                      <a:pt x="193" y="925"/>
                    </a:lnTo>
                    <a:lnTo>
                      <a:pt x="193" y="911"/>
                    </a:lnTo>
                    <a:lnTo>
                      <a:pt x="180" y="911"/>
                    </a:lnTo>
                    <a:lnTo>
                      <a:pt x="169" y="909"/>
                    </a:lnTo>
                    <a:lnTo>
                      <a:pt x="160" y="907"/>
                    </a:lnTo>
                    <a:lnTo>
                      <a:pt x="152" y="903"/>
                    </a:lnTo>
                    <a:lnTo>
                      <a:pt x="146" y="898"/>
                    </a:lnTo>
                    <a:lnTo>
                      <a:pt x="140" y="893"/>
                    </a:lnTo>
                    <a:lnTo>
                      <a:pt x="136" y="887"/>
                    </a:lnTo>
                    <a:lnTo>
                      <a:pt x="131" y="880"/>
                    </a:lnTo>
                    <a:lnTo>
                      <a:pt x="120" y="846"/>
                    </a:lnTo>
                    <a:lnTo>
                      <a:pt x="106" y="806"/>
                    </a:lnTo>
                    <a:lnTo>
                      <a:pt x="105" y="801"/>
                    </a:lnTo>
                    <a:lnTo>
                      <a:pt x="103" y="796"/>
                    </a:lnTo>
                    <a:lnTo>
                      <a:pt x="99" y="792"/>
                    </a:lnTo>
                    <a:lnTo>
                      <a:pt x="97" y="788"/>
                    </a:lnTo>
                    <a:lnTo>
                      <a:pt x="90" y="780"/>
                    </a:lnTo>
                    <a:lnTo>
                      <a:pt x="83" y="774"/>
                    </a:lnTo>
                    <a:lnTo>
                      <a:pt x="75" y="768"/>
                    </a:lnTo>
                    <a:lnTo>
                      <a:pt x="69" y="761"/>
                    </a:lnTo>
                    <a:lnTo>
                      <a:pt x="65" y="758"/>
                    </a:lnTo>
                    <a:lnTo>
                      <a:pt x="63" y="753"/>
                    </a:lnTo>
                    <a:lnTo>
                      <a:pt x="61" y="749"/>
                    </a:lnTo>
                    <a:lnTo>
                      <a:pt x="60" y="745"/>
                    </a:lnTo>
                    <a:lnTo>
                      <a:pt x="46" y="711"/>
                    </a:lnTo>
                    <a:lnTo>
                      <a:pt x="33" y="676"/>
                    </a:lnTo>
                    <a:lnTo>
                      <a:pt x="25" y="659"/>
                    </a:lnTo>
                    <a:lnTo>
                      <a:pt x="17" y="643"/>
                    </a:lnTo>
                    <a:lnTo>
                      <a:pt x="9" y="628"/>
                    </a:lnTo>
                    <a:lnTo>
                      <a:pt x="0" y="616"/>
                    </a:lnTo>
                    <a:lnTo>
                      <a:pt x="4" y="611"/>
                    </a:lnTo>
                    <a:lnTo>
                      <a:pt x="8" y="607"/>
                    </a:lnTo>
                    <a:lnTo>
                      <a:pt x="11" y="602"/>
                    </a:lnTo>
                    <a:lnTo>
                      <a:pt x="13" y="598"/>
                    </a:lnTo>
                    <a:lnTo>
                      <a:pt x="16" y="587"/>
                    </a:lnTo>
                    <a:lnTo>
                      <a:pt x="18" y="577"/>
                    </a:lnTo>
                    <a:lnTo>
                      <a:pt x="19" y="567"/>
                    </a:lnTo>
                    <a:lnTo>
                      <a:pt x="20" y="555"/>
                    </a:lnTo>
                    <a:lnTo>
                      <a:pt x="23" y="543"/>
                    </a:lnTo>
                    <a:lnTo>
                      <a:pt x="26" y="529"/>
                    </a:lnTo>
                    <a:lnTo>
                      <a:pt x="29" y="521"/>
                    </a:lnTo>
                    <a:lnTo>
                      <a:pt x="33" y="514"/>
                    </a:lnTo>
                    <a:lnTo>
                      <a:pt x="37" y="507"/>
                    </a:lnTo>
                    <a:lnTo>
                      <a:pt x="41" y="500"/>
                    </a:lnTo>
                    <a:lnTo>
                      <a:pt x="52" y="487"/>
                    </a:lnTo>
                    <a:lnTo>
                      <a:pt x="64" y="474"/>
                    </a:lnTo>
                    <a:lnTo>
                      <a:pt x="78" y="464"/>
                    </a:lnTo>
                    <a:lnTo>
                      <a:pt x="90" y="456"/>
                    </a:lnTo>
                    <a:lnTo>
                      <a:pt x="102" y="449"/>
                    </a:lnTo>
                    <a:lnTo>
                      <a:pt x="113" y="443"/>
                    </a:lnTo>
                    <a:lnTo>
                      <a:pt x="113" y="222"/>
                    </a:lnTo>
                    <a:lnTo>
                      <a:pt x="113" y="212"/>
                    </a:lnTo>
                    <a:lnTo>
                      <a:pt x="113" y="200"/>
                    </a:lnTo>
                    <a:lnTo>
                      <a:pt x="113" y="188"/>
                    </a:lnTo>
                    <a:lnTo>
                      <a:pt x="113" y="178"/>
                    </a:lnTo>
                    <a:lnTo>
                      <a:pt x="123" y="179"/>
                    </a:lnTo>
                    <a:lnTo>
                      <a:pt x="131" y="179"/>
                    </a:lnTo>
                    <a:lnTo>
                      <a:pt x="139" y="178"/>
                    </a:lnTo>
                    <a:lnTo>
                      <a:pt x="146" y="176"/>
                    </a:lnTo>
                    <a:lnTo>
                      <a:pt x="150" y="174"/>
                    </a:lnTo>
                    <a:lnTo>
                      <a:pt x="153" y="171"/>
                    </a:lnTo>
                    <a:lnTo>
                      <a:pt x="157" y="167"/>
                    </a:lnTo>
                    <a:lnTo>
                      <a:pt x="159" y="162"/>
                    </a:lnTo>
                    <a:lnTo>
                      <a:pt x="160" y="152"/>
                    </a:lnTo>
                    <a:lnTo>
                      <a:pt x="160" y="137"/>
                    </a:lnTo>
                    <a:lnTo>
                      <a:pt x="160" y="122"/>
                    </a:lnTo>
                    <a:lnTo>
                      <a:pt x="159" y="105"/>
                    </a:lnTo>
                    <a:lnTo>
                      <a:pt x="159" y="93"/>
                    </a:lnTo>
                    <a:lnTo>
                      <a:pt x="159" y="83"/>
                    </a:lnTo>
                    <a:lnTo>
                      <a:pt x="159" y="76"/>
                    </a:lnTo>
                    <a:lnTo>
                      <a:pt x="159" y="67"/>
                    </a:lnTo>
                    <a:lnTo>
                      <a:pt x="664" y="73"/>
                    </a:lnTo>
                    <a:lnTo>
                      <a:pt x="668" y="74"/>
                    </a:lnTo>
                    <a:lnTo>
                      <a:pt x="672" y="73"/>
                    </a:lnTo>
                    <a:lnTo>
                      <a:pt x="676" y="72"/>
                    </a:lnTo>
                    <a:lnTo>
                      <a:pt x="679" y="69"/>
                    </a:lnTo>
                    <a:lnTo>
                      <a:pt x="688" y="63"/>
                    </a:lnTo>
                    <a:lnTo>
                      <a:pt x="695" y="54"/>
                    </a:lnTo>
                    <a:lnTo>
                      <a:pt x="707" y="38"/>
                    </a:lnTo>
                    <a:lnTo>
                      <a:pt x="711" y="30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39" name="Freeform 356"/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5526988" y="3172955"/>
                <a:ext cx="514345" cy="768096"/>
              </a:xfrm>
              <a:custGeom>
                <a:avLst/>
                <a:gdLst/>
                <a:ahLst/>
                <a:cxnLst>
                  <a:cxn ang="0">
                    <a:pos x="98" y="62"/>
                  </a:cxn>
                  <a:cxn ang="0">
                    <a:pos x="112" y="56"/>
                  </a:cxn>
                  <a:cxn ang="0">
                    <a:pos x="129" y="69"/>
                  </a:cxn>
                  <a:cxn ang="0">
                    <a:pos x="149" y="85"/>
                  </a:cxn>
                  <a:cxn ang="0">
                    <a:pos x="171" y="92"/>
                  </a:cxn>
                  <a:cxn ang="0">
                    <a:pos x="215" y="88"/>
                  </a:cxn>
                  <a:cxn ang="0">
                    <a:pos x="257" y="82"/>
                  </a:cxn>
                  <a:cxn ang="0">
                    <a:pos x="291" y="79"/>
                  </a:cxn>
                  <a:cxn ang="0">
                    <a:pos x="301" y="74"/>
                  </a:cxn>
                  <a:cxn ang="0">
                    <a:pos x="301" y="68"/>
                  </a:cxn>
                  <a:cxn ang="0">
                    <a:pos x="355" y="63"/>
                  </a:cxn>
                  <a:cxn ang="0">
                    <a:pos x="434" y="45"/>
                  </a:cxn>
                  <a:cxn ang="0">
                    <a:pos x="479" y="28"/>
                  </a:cxn>
                  <a:cxn ang="0">
                    <a:pos x="514" y="8"/>
                  </a:cxn>
                  <a:cxn ang="0">
                    <a:pos x="547" y="31"/>
                  </a:cxn>
                  <a:cxn ang="0">
                    <a:pos x="555" y="57"/>
                  </a:cxn>
                  <a:cxn ang="0">
                    <a:pos x="552" y="113"/>
                  </a:cxn>
                  <a:cxn ang="0">
                    <a:pos x="532" y="174"/>
                  </a:cxn>
                  <a:cxn ang="0">
                    <a:pos x="502" y="231"/>
                  </a:cxn>
                  <a:cxn ang="0">
                    <a:pos x="447" y="321"/>
                  </a:cxn>
                  <a:cxn ang="0">
                    <a:pos x="423" y="375"/>
                  </a:cxn>
                  <a:cxn ang="0">
                    <a:pos x="410" y="415"/>
                  </a:cxn>
                  <a:cxn ang="0">
                    <a:pos x="379" y="473"/>
                  </a:cxn>
                  <a:cxn ang="0">
                    <a:pos x="330" y="531"/>
                  </a:cxn>
                  <a:cxn ang="0">
                    <a:pos x="288" y="566"/>
                  </a:cxn>
                  <a:cxn ang="0">
                    <a:pos x="239" y="600"/>
                  </a:cxn>
                  <a:cxn ang="0">
                    <a:pos x="168" y="651"/>
                  </a:cxn>
                  <a:cxn ang="0">
                    <a:pos x="143" y="680"/>
                  </a:cxn>
                  <a:cxn ang="0">
                    <a:pos x="131" y="700"/>
                  </a:cxn>
                  <a:cxn ang="0">
                    <a:pos x="116" y="717"/>
                  </a:cxn>
                  <a:cxn ang="0">
                    <a:pos x="71" y="745"/>
                  </a:cxn>
                  <a:cxn ang="0">
                    <a:pos x="19" y="801"/>
                  </a:cxn>
                  <a:cxn ang="0">
                    <a:pos x="2" y="564"/>
                  </a:cxn>
                  <a:cxn ang="0">
                    <a:pos x="3" y="554"/>
                  </a:cxn>
                  <a:cxn ang="0">
                    <a:pos x="27" y="533"/>
                  </a:cxn>
                  <a:cxn ang="0">
                    <a:pos x="42" y="516"/>
                  </a:cxn>
                  <a:cxn ang="0">
                    <a:pos x="60" y="497"/>
                  </a:cxn>
                  <a:cxn ang="0">
                    <a:pos x="111" y="480"/>
                  </a:cxn>
                  <a:cxn ang="0">
                    <a:pos x="119" y="470"/>
                  </a:cxn>
                  <a:cxn ang="0">
                    <a:pos x="129" y="452"/>
                  </a:cxn>
                  <a:cxn ang="0">
                    <a:pos x="152" y="440"/>
                  </a:cxn>
                  <a:cxn ang="0">
                    <a:pos x="174" y="439"/>
                  </a:cxn>
                  <a:cxn ang="0">
                    <a:pos x="196" y="439"/>
                  </a:cxn>
                  <a:cxn ang="0">
                    <a:pos x="228" y="429"/>
                  </a:cxn>
                  <a:cxn ang="0">
                    <a:pos x="251" y="405"/>
                  </a:cxn>
                  <a:cxn ang="0">
                    <a:pos x="265" y="379"/>
                  </a:cxn>
                  <a:cxn ang="0">
                    <a:pos x="296" y="347"/>
                  </a:cxn>
                  <a:cxn ang="0">
                    <a:pos x="354" y="293"/>
                  </a:cxn>
                  <a:cxn ang="0">
                    <a:pos x="377" y="266"/>
                  </a:cxn>
                  <a:cxn ang="0">
                    <a:pos x="324" y="246"/>
                  </a:cxn>
                  <a:cxn ang="0">
                    <a:pos x="257" y="228"/>
                  </a:cxn>
                  <a:cxn ang="0">
                    <a:pos x="184" y="209"/>
                  </a:cxn>
                  <a:cxn ang="0">
                    <a:pos x="149" y="187"/>
                  </a:cxn>
                  <a:cxn ang="0">
                    <a:pos x="112" y="154"/>
                  </a:cxn>
                  <a:cxn ang="0">
                    <a:pos x="89" y="121"/>
                  </a:cxn>
                  <a:cxn ang="0">
                    <a:pos x="77" y="80"/>
                  </a:cxn>
                  <a:cxn ang="0">
                    <a:pos x="65" y="87"/>
                  </a:cxn>
                  <a:cxn ang="0">
                    <a:pos x="84" y="68"/>
                  </a:cxn>
                </a:cxnLst>
                <a:rect l="0" t="0" r="r" b="b"/>
                <a:pathLst>
                  <a:path w="556" h="819">
                    <a:moveTo>
                      <a:pt x="84" y="68"/>
                    </a:moveTo>
                    <a:lnTo>
                      <a:pt x="90" y="66"/>
                    </a:lnTo>
                    <a:lnTo>
                      <a:pt x="98" y="62"/>
                    </a:lnTo>
                    <a:lnTo>
                      <a:pt x="103" y="59"/>
                    </a:lnTo>
                    <a:lnTo>
                      <a:pt x="108" y="58"/>
                    </a:lnTo>
                    <a:lnTo>
                      <a:pt x="112" y="56"/>
                    </a:lnTo>
                    <a:lnTo>
                      <a:pt x="118" y="56"/>
                    </a:lnTo>
                    <a:lnTo>
                      <a:pt x="122" y="62"/>
                    </a:lnTo>
                    <a:lnTo>
                      <a:pt x="129" y="69"/>
                    </a:lnTo>
                    <a:lnTo>
                      <a:pt x="134" y="75"/>
                    </a:lnTo>
                    <a:lnTo>
                      <a:pt x="141" y="81"/>
                    </a:lnTo>
                    <a:lnTo>
                      <a:pt x="149" y="85"/>
                    </a:lnTo>
                    <a:lnTo>
                      <a:pt x="155" y="89"/>
                    </a:lnTo>
                    <a:lnTo>
                      <a:pt x="163" y="91"/>
                    </a:lnTo>
                    <a:lnTo>
                      <a:pt x="171" y="92"/>
                    </a:lnTo>
                    <a:lnTo>
                      <a:pt x="186" y="91"/>
                    </a:lnTo>
                    <a:lnTo>
                      <a:pt x="200" y="90"/>
                    </a:lnTo>
                    <a:lnTo>
                      <a:pt x="215" y="88"/>
                    </a:lnTo>
                    <a:lnTo>
                      <a:pt x="230" y="86"/>
                    </a:lnTo>
                    <a:lnTo>
                      <a:pt x="244" y="84"/>
                    </a:lnTo>
                    <a:lnTo>
                      <a:pt x="257" y="82"/>
                    </a:lnTo>
                    <a:lnTo>
                      <a:pt x="271" y="80"/>
                    </a:lnTo>
                    <a:lnTo>
                      <a:pt x="284" y="80"/>
                    </a:lnTo>
                    <a:lnTo>
                      <a:pt x="291" y="79"/>
                    </a:lnTo>
                    <a:lnTo>
                      <a:pt x="297" y="78"/>
                    </a:lnTo>
                    <a:lnTo>
                      <a:pt x="300" y="76"/>
                    </a:lnTo>
                    <a:lnTo>
                      <a:pt x="301" y="74"/>
                    </a:lnTo>
                    <a:lnTo>
                      <a:pt x="301" y="72"/>
                    </a:lnTo>
                    <a:lnTo>
                      <a:pt x="301" y="70"/>
                    </a:lnTo>
                    <a:lnTo>
                      <a:pt x="301" y="68"/>
                    </a:lnTo>
                    <a:lnTo>
                      <a:pt x="303" y="68"/>
                    </a:lnTo>
                    <a:lnTo>
                      <a:pt x="327" y="67"/>
                    </a:lnTo>
                    <a:lnTo>
                      <a:pt x="355" y="63"/>
                    </a:lnTo>
                    <a:lnTo>
                      <a:pt x="386" y="58"/>
                    </a:lnTo>
                    <a:lnTo>
                      <a:pt x="418" y="50"/>
                    </a:lnTo>
                    <a:lnTo>
                      <a:pt x="434" y="45"/>
                    </a:lnTo>
                    <a:lnTo>
                      <a:pt x="450" y="40"/>
                    </a:lnTo>
                    <a:lnTo>
                      <a:pt x="465" y="34"/>
                    </a:lnTo>
                    <a:lnTo>
                      <a:pt x="479" y="28"/>
                    </a:lnTo>
                    <a:lnTo>
                      <a:pt x="492" y="22"/>
                    </a:lnTo>
                    <a:lnTo>
                      <a:pt x="504" y="15"/>
                    </a:lnTo>
                    <a:lnTo>
                      <a:pt x="514" y="8"/>
                    </a:lnTo>
                    <a:lnTo>
                      <a:pt x="523" y="0"/>
                    </a:lnTo>
                    <a:lnTo>
                      <a:pt x="536" y="17"/>
                    </a:lnTo>
                    <a:lnTo>
                      <a:pt x="547" y="31"/>
                    </a:lnTo>
                    <a:lnTo>
                      <a:pt x="551" y="39"/>
                    </a:lnTo>
                    <a:lnTo>
                      <a:pt x="554" y="48"/>
                    </a:lnTo>
                    <a:lnTo>
                      <a:pt x="555" y="57"/>
                    </a:lnTo>
                    <a:lnTo>
                      <a:pt x="556" y="68"/>
                    </a:lnTo>
                    <a:lnTo>
                      <a:pt x="555" y="90"/>
                    </a:lnTo>
                    <a:lnTo>
                      <a:pt x="552" y="113"/>
                    </a:lnTo>
                    <a:lnTo>
                      <a:pt x="546" y="133"/>
                    </a:lnTo>
                    <a:lnTo>
                      <a:pt x="540" y="153"/>
                    </a:lnTo>
                    <a:lnTo>
                      <a:pt x="532" y="174"/>
                    </a:lnTo>
                    <a:lnTo>
                      <a:pt x="523" y="193"/>
                    </a:lnTo>
                    <a:lnTo>
                      <a:pt x="512" y="212"/>
                    </a:lnTo>
                    <a:lnTo>
                      <a:pt x="502" y="231"/>
                    </a:lnTo>
                    <a:lnTo>
                      <a:pt x="479" y="267"/>
                    </a:lnTo>
                    <a:lnTo>
                      <a:pt x="458" y="303"/>
                    </a:lnTo>
                    <a:lnTo>
                      <a:pt x="447" y="321"/>
                    </a:lnTo>
                    <a:lnTo>
                      <a:pt x="439" y="339"/>
                    </a:lnTo>
                    <a:lnTo>
                      <a:pt x="430" y="357"/>
                    </a:lnTo>
                    <a:lnTo>
                      <a:pt x="423" y="375"/>
                    </a:lnTo>
                    <a:lnTo>
                      <a:pt x="419" y="390"/>
                    </a:lnTo>
                    <a:lnTo>
                      <a:pt x="414" y="403"/>
                    </a:lnTo>
                    <a:lnTo>
                      <a:pt x="410" y="415"/>
                    </a:lnTo>
                    <a:lnTo>
                      <a:pt x="404" y="427"/>
                    </a:lnTo>
                    <a:lnTo>
                      <a:pt x="392" y="452"/>
                    </a:lnTo>
                    <a:lnTo>
                      <a:pt x="379" y="473"/>
                    </a:lnTo>
                    <a:lnTo>
                      <a:pt x="364" y="495"/>
                    </a:lnTo>
                    <a:lnTo>
                      <a:pt x="347" y="514"/>
                    </a:lnTo>
                    <a:lnTo>
                      <a:pt x="330" y="531"/>
                    </a:lnTo>
                    <a:lnTo>
                      <a:pt x="310" y="549"/>
                    </a:lnTo>
                    <a:lnTo>
                      <a:pt x="300" y="558"/>
                    </a:lnTo>
                    <a:lnTo>
                      <a:pt x="288" y="566"/>
                    </a:lnTo>
                    <a:lnTo>
                      <a:pt x="277" y="575"/>
                    </a:lnTo>
                    <a:lnTo>
                      <a:pt x="264" y="583"/>
                    </a:lnTo>
                    <a:lnTo>
                      <a:pt x="239" y="600"/>
                    </a:lnTo>
                    <a:lnTo>
                      <a:pt x="213" y="617"/>
                    </a:lnTo>
                    <a:lnTo>
                      <a:pt x="189" y="634"/>
                    </a:lnTo>
                    <a:lnTo>
                      <a:pt x="168" y="651"/>
                    </a:lnTo>
                    <a:lnTo>
                      <a:pt x="159" y="661"/>
                    </a:lnTo>
                    <a:lnTo>
                      <a:pt x="150" y="670"/>
                    </a:lnTo>
                    <a:lnTo>
                      <a:pt x="143" y="680"/>
                    </a:lnTo>
                    <a:lnTo>
                      <a:pt x="138" y="690"/>
                    </a:lnTo>
                    <a:lnTo>
                      <a:pt x="134" y="695"/>
                    </a:lnTo>
                    <a:lnTo>
                      <a:pt x="131" y="700"/>
                    </a:lnTo>
                    <a:lnTo>
                      <a:pt x="128" y="705"/>
                    </a:lnTo>
                    <a:lnTo>
                      <a:pt x="125" y="709"/>
                    </a:lnTo>
                    <a:lnTo>
                      <a:pt x="116" y="717"/>
                    </a:lnTo>
                    <a:lnTo>
                      <a:pt x="107" y="723"/>
                    </a:lnTo>
                    <a:lnTo>
                      <a:pt x="88" y="733"/>
                    </a:lnTo>
                    <a:lnTo>
                      <a:pt x="71" y="745"/>
                    </a:lnTo>
                    <a:lnTo>
                      <a:pt x="52" y="763"/>
                    </a:lnTo>
                    <a:lnTo>
                      <a:pt x="36" y="783"/>
                    </a:lnTo>
                    <a:lnTo>
                      <a:pt x="19" y="801"/>
                    </a:lnTo>
                    <a:lnTo>
                      <a:pt x="5" y="819"/>
                    </a:lnTo>
                    <a:lnTo>
                      <a:pt x="5" y="567"/>
                    </a:lnTo>
                    <a:lnTo>
                      <a:pt x="2" y="564"/>
                    </a:lnTo>
                    <a:lnTo>
                      <a:pt x="0" y="560"/>
                    </a:lnTo>
                    <a:lnTo>
                      <a:pt x="0" y="557"/>
                    </a:lnTo>
                    <a:lnTo>
                      <a:pt x="3" y="554"/>
                    </a:lnTo>
                    <a:lnTo>
                      <a:pt x="8" y="547"/>
                    </a:lnTo>
                    <a:lnTo>
                      <a:pt x="17" y="540"/>
                    </a:lnTo>
                    <a:lnTo>
                      <a:pt x="27" y="533"/>
                    </a:lnTo>
                    <a:lnTo>
                      <a:pt x="36" y="525"/>
                    </a:lnTo>
                    <a:lnTo>
                      <a:pt x="39" y="521"/>
                    </a:lnTo>
                    <a:lnTo>
                      <a:pt x="42" y="516"/>
                    </a:lnTo>
                    <a:lnTo>
                      <a:pt x="43" y="511"/>
                    </a:lnTo>
                    <a:lnTo>
                      <a:pt x="44" y="505"/>
                    </a:lnTo>
                    <a:lnTo>
                      <a:pt x="60" y="497"/>
                    </a:lnTo>
                    <a:lnTo>
                      <a:pt x="75" y="490"/>
                    </a:lnTo>
                    <a:lnTo>
                      <a:pt x="92" y="485"/>
                    </a:lnTo>
                    <a:lnTo>
                      <a:pt x="111" y="480"/>
                    </a:lnTo>
                    <a:lnTo>
                      <a:pt x="114" y="479"/>
                    </a:lnTo>
                    <a:lnTo>
                      <a:pt x="116" y="475"/>
                    </a:lnTo>
                    <a:lnTo>
                      <a:pt x="119" y="470"/>
                    </a:lnTo>
                    <a:lnTo>
                      <a:pt x="121" y="464"/>
                    </a:lnTo>
                    <a:lnTo>
                      <a:pt x="125" y="458"/>
                    </a:lnTo>
                    <a:lnTo>
                      <a:pt x="129" y="452"/>
                    </a:lnTo>
                    <a:lnTo>
                      <a:pt x="132" y="447"/>
                    </a:lnTo>
                    <a:lnTo>
                      <a:pt x="138" y="444"/>
                    </a:lnTo>
                    <a:lnTo>
                      <a:pt x="152" y="440"/>
                    </a:lnTo>
                    <a:lnTo>
                      <a:pt x="162" y="439"/>
                    </a:lnTo>
                    <a:lnTo>
                      <a:pt x="168" y="438"/>
                    </a:lnTo>
                    <a:lnTo>
                      <a:pt x="174" y="439"/>
                    </a:lnTo>
                    <a:lnTo>
                      <a:pt x="179" y="439"/>
                    </a:lnTo>
                    <a:lnTo>
                      <a:pt x="186" y="440"/>
                    </a:lnTo>
                    <a:lnTo>
                      <a:pt x="196" y="439"/>
                    </a:lnTo>
                    <a:lnTo>
                      <a:pt x="210" y="438"/>
                    </a:lnTo>
                    <a:lnTo>
                      <a:pt x="220" y="434"/>
                    </a:lnTo>
                    <a:lnTo>
                      <a:pt x="228" y="429"/>
                    </a:lnTo>
                    <a:lnTo>
                      <a:pt x="235" y="424"/>
                    </a:lnTo>
                    <a:lnTo>
                      <a:pt x="241" y="418"/>
                    </a:lnTo>
                    <a:lnTo>
                      <a:pt x="251" y="405"/>
                    </a:lnTo>
                    <a:lnTo>
                      <a:pt x="257" y="394"/>
                    </a:lnTo>
                    <a:lnTo>
                      <a:pt x="261" y="387"/>
                    </a:lnTo>
                    <a:lnTo>
                      <a:pt x="265" y="379"/>
                    </a:lnTo>
                    <a:lnTo>
                      <a:pt x="272" y="371"/>
                    </a:lnTo>
                    <a:lnTo>
                      <a:pt x="278" y="363"/>
                    </a:lnTo>
                    <a:lnTo>
                      <a:pt x="296" y="347"/>
                    </a:lnTo>
                    <a:lnTo>
                      <a:pt x="316" y="329"/>
                    </a:lnTo>
                    <a:lnTo>
                      <a:pt x="335" y="310"/>
                    </a:lnTo>
                    <a:lnTo>
                      <a:pt x="354" y="293"/>
                    </a:lnTo>
                    <a:lnTo>
                      <a:pt x="363" y="284"/>
                    </a:lnTo>
                    <a:lnTo>
                      <a:pt x="370" y="276"/>
                    </a:lnTo>
                    <a:lnTo>
                      <a:pt x="377" y="266"/>
                    </a:lnTo>
                    <a:lnTo>
                      <a:pt x="384" y="258"/>
                    </a:lnTo>
                    <a:lnTo>
                      <a:pt x="351" y="252"/>
                    </a:lnTo>
                    <a:lnTo>
                      <a:pt x="324" y="246"/>
                    </a:lnTo>
                    <a:lnTo>
                      <a:pt x="300" y="240"/>
                    </a:lnTo>
                    <a:lnTo>
                      <a:pt x="278" y="234"/>
                    </a:lnTo>
                    <a:lnTo>
                      <a:pt x="257" y="228"/>
                    </a:lnTo>
                    <a:lnTo>
                      <a:pt x="235" y="223"/>
                    </a:lnTo>
                    <a:lnTo>
                      <a:pt x="211" y="216"/>
                    </a:lnTo>
                    <a:lnTo>
                      <a:pt x="184" y="209"/>
                    </a:lnTo>
                    <a:lnTo>
                      <a:pt x="177" y="205"/>
                    </a:lnTo>
                    <a:lnTo>
                      <a:pt x="165" y="198"/>
                    </a:lnTo>
                    <a:lnTo>
                      <a:pt x="149" y="187"/>
                    </a:lnTo>
                    <a:lnTo>
                      <a:pt x="131" y="173"/>
                    </a:lnTo>
                    <a:lnTo>
                      <a:pt x="121" y="164"/>
                    </a:lnTo>
                    <a:lnTo>
                      <a:pt x="112" y="154"/>
                    </a:lnTo>
                    <a:lnTo>
                      <a:pt x="104" y="144"/>
                    </a:lnTo>
                    <a:lnTo>
                      <a:pt x="96" y="133"/>
                    </a:lnTo>
                    <a:lnTo>
                      <a:pt x="89" y="121"/>
                    </a:lnTo>
                    <a:lnTo>
                      <a:pt x="84" y="109"/>
                    </a:lnTo>
                    <a:lnTo>
                      <a:pt x="79" y="94"/>
                    </a:lnTo>
                    <a:lnTo>
                      <a:pt x="77" y="80"/>
                    </a:lnTo>
                    <a:lnTo>
                      <a:pt x="69" y="86"/>
                    </a:lnTo>
                    <a:lnTo>
                      <a:pt x="64" y="88"/>
                    </a:lnTo>
                    <a:lnTo>
                      <a:pt x="65" y="87"/>
                    </a:lnTo>
                    <a:lnTo>
                      <a:pt x="69" y="83"/>
                    </a:lnTo>
                    <a:lnTo>
                      <a:pt x="78" y="73"/>
                    </a:lnTo>
                    <a:lnTo>
                      <a:pt x="84" y="68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40" name="Freeform 357"/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5543684" y="3150366"/>
                <a:ext cx="80157" cy="104484"/>
              </a:xfrm>
              <a:custGeom>
                <a:avLst/>
                <a:gdLst/>
                <a:ahLst/>
                <a:cxnLst>
                  <a:cxn ang="0">
                    <a:pos x="59" y="0"/>
                  </a:cxn>
                  <a:cxn ang="0">
                    <a:pos x="56" y="2"/>
                  </a:cxn>
                  <a:cxn ang="0">
                    <a:pos x="52" y="3"/>
                  </a:cxn>
                  <a:cxn ang="0">
                    <a:pos x="46" y="3"/>
                  </a:cxn>
                  <a:cxn ang="0">
                    <a:pos x="40" y="3"/>
                  </a:cxn>
                  <a:cxn ang="0">
                    <a:pos x="33" y="3"/>
                  </a:cxn>
                  <a:cxn ang="0">
                    <a:pos x="27" y="3"/>
                  </a:cxn>
                  <a:cxn ang="0">
                    <a:pos x="23" y="4"/>
                  </a:cxn>
                  <a:cxn ang="0">
                    <a:pos x="20" y="6"/>
                  </a:cxn>
                  <a:cxn ang="0">
                    <a:pos x="16" y="9"/>
                  </a:cxn>
                  <a:cxn ang="0">
                    <a:pos x="13" y="12"/>
                  </a:cxn>
                  <a:cxn ang="0">
                    <a:pos x="11" y="15"/>
                  </a:cxn>
                  <a:cxn ang="0">
                    <a:pos x="8" y="20"/>
                  </a:cxn>
                  <a:cxn ang="0">
                    <a:pos x="4" y="29"/>
                  </a:cxn>
                  <a:cxn ang="0">
                    <a:pos x="2" y="38"/>
                  </a:cxn>
                  <a:cxn ang="0">
                    <a:pos x="0" y="57"/>
                  </a:cxn>
                  <a:cxn ang="0">
                    <a:pos x="0" y="75"/>
                  </a:cxn>
                  <a:cxn ang="0">
                    <a:pos x="0" y="81"/>
                  </a:cxn>
                  <a:cxn ang="0">
                    <a:pos x="1" y="86"/>
                  </a:cxn>
                  <a:cxn ang="0">
                    <a:pos x="3" y="90"/>
                  </a:cxn>
                  <a:cxn ang="0">
                    <a:pos x="7" y="93"/>
                  </a:cxn>
                  <a:cxn ang="0">
                    <a:pos x="10" y="95"/>
                  </a:cxn>
                  <a:cxn ang="0">
                    <a:pos x="13" y="96"/>
                  </a:cxn>
                  <a:cxn ang="0">
                    <a:pos x="18" y="97"/>
                  </a:cxn>
                  <a:cxn ang="0">
                    <a:pos x="21" y="97"/>
                  </a:cxn>
                  <a:cxn ang="0">
                    <a:pos x="40" y="95"/>
                  </a:cxn>
                  <a:cxn ang="0">
                    <a:pos x="53" y="93"/>
                  </a:cxn>
                  <a:cxn ang="0">
                    <a:pos x="86" y="68"/>
                  </a:cxn>
                  <a:cxn ang="0">
                    <a:pos x="59" y="0"/>
                  </a:cxn>
                </a:cxnLst>
                <a:rect l="0" t="0" r="r" b="b"/>
                <a:pathLst>
                  <a:path w="86" h="97">
                    <a:moveTo>
                      <a:pt x="59" y="0"/>
                    </a:moveTo>
                    <a:lnTo>
                      <a:pt x="56" y="2"/>
                    </a:lnTo>
                    <a:lnTo>
                      <a:pt x="52" y="3"/>
                    </a:lnTo>
                    <a:lnTo>
                      <a:pt x="46" y="3"/>
                    </a:lnTo>
                    <a:lnTo>
                      <a:pt x="40" y="3"/>
                    </a:lnTo>
                    <a:lnTo>
                      <a:pt x="33" y="3"/>
                    </a:lnTo>
                    <a:lnTo>
                      <a:pt x="27" y="3"/>
                    </a:lnTo>
                    <a:lnTo>
                      <a:pt x="23" y="4"/>
                    </a:lnTo>
                    <a:lnTo>
                      <a:pt x="20" y="6"/>
                    </a:lnTo>
                    <a:lnTo>
                      <a:pt x="16" y="9"/>
                    </a:lnTo>
                    <a:lnTo>
                      <a:pt x="13" y="12"/>
                    </a:lnTo>
                    <a:lnTo>
                      <a:pt x="11" y="15"/>
                    </a:lnTo>
                    <a:lnTo>
                      <a:pt x="8" y="20"/>
                    </a:lnTo>
                    <a:lnTo>
                      <a:pt x="4" y="29"/>
                    </a:lnTo>
                    <a:lnTo>
                      <a:pt x="2" y="38"/>
                    </a:lnTo>
                    <a:lnTo>
                      <a:pt x="0" y="57"/>
                    </a:lnTo>
                    <a:lnTo>
                      <a:pt x="0" y="75"/>
                    </a:lnTo>
                    <a:lnTo>
                      <a:pt x="0" y="81"/>
                    </a:lnTo>
                    <a:lnTo>
                      <a:pt x="1" y="86"/>
                    </a:lnTo>
                    <a:lnTo>
                      <a:pt x="3" y="90"/>
                    </a:lnTo>
                    <a:lnTo>
                      <a:pt x="7" y="93"/>
                    </a:lnTo>
                    <a:lnTo>
                      <a:pt x="10" y="95"/>
                    </a:lnTo>
                    <a:lnTo>
                      <a:pt x="13" y="96"/>
                    </a:lnTo>
                    <a:lnTo>
                      <a:pt x="18" y="97"/>
                    </a:lnTo>
                    <a:lnTo>
                      <a:pt x="21" y="97"/>
                    </a:lnTo>
                    <a:lnTo>
                      <a:pt x="40" y="95"/>
                    </a:lnTo>
                    <a:lnTo>
                      <a:pt x="53" y="93"/>
                    </a:lnTo>
                    <a:lnTo>
                      <a:pt x="86" y="68"/>
                    </a:lnTo>
                    <a:lnTo>
                      <a:pt x="59" y="0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41" name="Freeform 358"/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5119518" y="2992230"/>
                <a:ext cx="764841" cy="669259"/>
              </a:xfrm>
              <a:custGeom>
                <a:avLst/>
                <a:gdLst/>
                <a:ahLst/>
                <a:cxnLst>
                  <a:cxn ang="0">
                    <a:pos x="182" y="36"/>
                  </a:cxn>
                  <a:cxn ang="0">
                    <a:pos x="205" y="28"/>
                  </a:cxn>
                  <a:cxn ang="0">
                    <a:pos x="247" y="0"/>
                  </a:cxn>
                  <a:cxn ang="0">
                    <a:pos x="273" y="12"/>
                  </a:cxn>
                  <a:cxn ang="0">
                    <a:pos x="327" y="37"/>
                  </a:cxn>
                  <a:cxn ang="0">
                    <a:pos x="380" y="67"/>
                  </a:cxn>
                  <a:cxn ang="0">
                    <a:pos x="426" y="98"/>
                  </a:cxn>
                  <a:cxn ang="0">
                    <a:pos x="442" y="125"/>
                  </a:cxn>
                  <a:cxn ang="0">
                    <a:pos x="443" y="140"/>
                  </a:cxn>
                  <a:cxn ang="0">
                    <a:pos x="458" y="147"/>
                  </a:cxn>
                  <a:cxn ang="0">
                    <a:pos x="499" y="178"/>
                  </a:cxn>
                  <a:cxn ang="0">
                    <a:pos x="506" y="172"/>
                  </a:cxn>
                  <a:cxn ang="0">
                    <a:pos x="488" y="184"/>
                  </a:cxn>
                  <a:cxn ang="0">
                    <a:pos x="481" y="202"/>
                  </a:cxn>
                  <a:cxn ang="0">
                    <a:pos x="481" y="252"/>
                  </a:cxn>
                  <a:cxn ang="0">
                    <a:pos x="493" y="264"/>
                  </a:cxn>
                  <a:cxn ang="0">
                    <a:pos x="526" y="265"/>
                  </a:cxn>
                  <a:cxn ang="0">
                    <a:pos x="545" y="319"/>
                  </a:cxn>
                  <a:cxn ang="0">
                    <a:pos x="583" y="361"/>
                  </a:cxn>
                  <a:cxn ang="0">
                    <a:pos x="645" y="400"/>
                  </a:cxn>
                  <a:cxn ang="0">
                    <a:pos x="738" y="430"/>
                  </a:cxn>
                  <a:cxn ang="0">
                    <a:pos x="845" y="449"/>
                  </a:cxn>
                  <a:cxn ang="0">
                    <a:pos x="811" y="482"/>
                  </a:cxn>
                  <a:cxn ang="0">
                    <a:pos x="731" y="547"/>
                  </a:cxn>
                  <a:cxn ang="0">
                    <a:pos x="712" y="579"/>
                  </a:cxn>
                  <a:cxn ang="0">
                    <a:pos x="697" y="617"/>
                  </a:cxn>
                  <a:cxn ang="0">
                    <a:pos x="674" y="629"/>
                  </a:cxn>
                  <a:cxn ang="0">
                    <a:pos x="580" y="655"/>
                  </a:cxn>
                  <a:cxn ang="0">
                    <a:pos x="559" y="671"/>
                  </a:cxn>
                  <a:cxn ang="0">
                    <a:pos x="525" y="681"/>
                  </a:cxn>
                  <a:cxn ang="0">
                    <a:pos x="482" y="693"/>
                  </a:cxn>
                  <a:cxn ang="0">
                    <a:pos x="461" y="680"/>
                  </a:cxn>
                  <a:cxn ang="0">
                    <a:pos x="427" y="679"/>
                  </a:cxn>
                  <a:cxn ang="0">
                    <a:pos x="405" y="699"/>
                  </a:cxn>
                  <a:cxn ang="0">
                    <a:pos x="390" y="714"/>
                  </a:cxn>
                  <a:cxn ang="0">
                    <a:pos x="360" y="720"/>
                  </a:cxn>
                  <a:cxn ang="0">
                    <a:pos x="318" y="714"/>
                  </a:cxn>
                  <a:cxn ang="0">
                    <a:pos x="289" y="698"/>
                  </a:cxn>
                  <a:cxn ang="0">
                    <a:pos x="246" y="671"/>
                  </a:cxn>
                  <a:cxn ang="0">
                    <a:pos x="181" y="661"/>
                  </a:cxn>
                  <a:cxn ang="0">
                    <a:pos x="140" y="653"/>
                  </a:cxn>
                  <a:cxn ang="0">
                    <a:pos x="151" y="614"/>
                  </a:cxn>
                  <a:cxn ang="0">
                    <a:pos x="127" y="596"/>
                  </a:cxn>
                  <a:cxn ang="0">
                    <a:pos x="108" y="583"/>
                  </a:cxn>
                  <a:cxn ang="0">
                    <a:pos x="93" y="551"/>
                  </a:cxn>
                  <a:cxn ang="0">
                    <a:pos x="77" y="511"/>
                  </a:cxn>
                  <a:cxn ang="0">
                    <a:pos x="49" y="489"/>
                  </a:cxn>
                  <a:cxn ang="0">
                    <a:pos x="16" y="477"/>
                  </a:cxn>
                  <a:cxn ang="0">
                    <a:pos x="5" y="472"/>
                  </a:cxn>
                  <a:cxn ang="0">
                    <a:pos x="2" y="448"/>
                  </a:cxn>
                  <a:cxn ang="0">
                    <a:pos x="21" y="422"/>
                  </a:cxn>
                  <a:cxn ang="0">
                    <a:pos x="55" y="413"/>
                  </a:cxn>
                  <a:cxn ang="0">
                    <a:pos x="67" y="321"/>
                  </a:cxn>
                  <a:cxn ang="0">
                    <a:pos x="82" y="275"/>
                  </a:cxn>
                  <a:cxn ang="0">
                    <a:pos x="95" y="260"/>
                  </a:cxn>
                  <a:cxn ang="0">
                    <a:pos x="103" y="236"/>
                  </a:cxn>
                  <a:cxn ang="0">
                    <a:pos x="116" y="206"/>
                  </a:cxn>
                  <a:cxn ang="0">
                    <a:pos x="148" y="178"/>
                  </a:cxn>
                  <a:cxn ang="0">
                    <a:pos x="167" y="160"/>
                  </a:cxn>
                </a:cxnLst>
                <a:rect l="0" t="0" r="r" b="b"/>
                <a:pathLst>
                  <a:path w="845" h="720">
                    <a:moveTo>
                      <a:pt x="174" y="25"/>
                    </a:moveTo>
                    <a:lnTo>
                      <a:pt x="175" y="27"/>
                    </a:lnTo>
                    <a:lnTo>
                      <a:pt x="179" y="33"/>
                    </a:lnTo>
                    <a:lnTo>
                      <a:pt x="182" y="36"/>
                    </a:lnTo>
                    <a:lnTo>
                      <a:pt x="185" y="38"/>
                    </a:lnTo>
                    <a:lnTo>
                      <a:pt x="189" y="38"/>
                    </a:lnTo>
                    <a:lnTo>
                      <a:pt x="194" y="37"/>
                    </a:lnTo>
                    <a:lnTo>
                      <a:pt x="205" y="28"/>
                    </a:lnTo>
                    <a:lnTo>
                      <a:pt x="218" y="19"/>
                    </a:lnTo>
                    <a:lnTo>
                      <a:pt x="229" y="14"/>
                    </a:lnTo>
                    <a:lnTo>
                      <a:pt x="234" y="12"/>
                    </a:lnTo>
                    <a:lnTo>
                      <a:pt x="247" y="0"/>
                    </a:lnTo>
                    <a:lnTo>
                      <a:pt x="250" y="1"/>
                    </a:lnTo>
                    <a:lnTo>
                      <a:pt x="258" y="6"/>
                    </a:lnTo>
                    <a:lnTo>
                      <a:pt x="267" y="10"/>
                    </a:lnTo>
                    <a:lnTo>
                      <a:pt x="273" y="12"/>
                    </a:lnTo>
                    <a:lnTo>
                      <a:pt x="284" y="15"/>
                    </a:lnTo>
                    <a:lnTo>
                      <a:pt x="300" y="21"/>
                    </a:lnTo>
                    <a:lnTo>
                      <a:pt x="316" y="31"/>
                    </a:lnTo>
                    <a:lnTo>
                      <a:pt x="327" y="37"/>
                    </a:lnTo>
                    <a:lnTo>
                      <a:pt x="337" y="41"/>
                    </a:lnTo>
                    <a:lnTo>
                      <a:pt x="353" y="50"/>
                    </a:lnTo>
                    <a:lnTo>
                      <a:pt x="370" y="60"/>
                    </a:lnTo>
                    <a:lnTo>
                      <a:pt x="380" y="67"/>
                    </a:lnTo>
                    <a:lnTo>
                      <a:pt x="393" y="76"/>
                    </a:lnTo>
                    <a:lnTo>
                      <a:pt x="406" y="86"/>
                    </a:lnTo>
                    <a:lnTo>
                      <a:pt x="419" y="95"/>
                    </a:lnTo>
                    <a:lnTo>
                      <a:pt x="426" y="98"/>
                    </a:lnTo>
                    <a:lnTo>
                      <a:pt x="430" y="105"/>
                    </a:lnTo>
                    <a:lnTo>
                      <a:pt x="440" y="116"/>
                    </a:lnTo>
                    <a:lnTo>
                      <a:pt x="441" y="121"/>
                    </a:lnTo>
                    <a:lnTo>
                      <a:pt x="442" y="125"/>
                    </a:lnTo>
                    <a:lnTo>
                      <a:pt x="443" y="130"/>
                    </a:lnTo>
                    <a:lnTo>
                      <a:pt x="443" y="134"/>
                    </a:lnTo>
                    <a:lnTo>
                      <a:pt x="443" y="137"/>
                    </a:lnTo>
                    <a:lnTo>
                      <a:pt x="443" y="140"/>
                    </a:lnTo>
                    <a:lnTo>
                      <a:pt x="444" y="141"/>
                    </a:lnTo>
                    <a:lnTo>
                      <a:pt x="447" y="142"/>
                    </a:lnTo>
                    <a:lnTo>
                      <a:pt x="450" y="143"/>
                    </a:lnTo>
                    <a:lnTo>
                      <a:pt x="458" y="147"/>
                    </a:lnTo>
                    <a:lnTo>
                      <a:pt x="466" y="153"/>
                    </a:lnTo>
                    <a:lnTo>
                      <a:pt x="475" y="160"/>
                    </a:lnTo>
                    <a:lnTo>
                      <a:pt x="492" y="172"/>
                    </a:lnTo>
                    <a:lnTo>
                      <a:pt x="499" y="178"/>
                    </a:lnTo>
                    <a:lnTo>
                      <a:pt x="500" y="175"/>
                    </a:lnTo>
                    <a:lnTo>
                      <a:pt x="503" y="173"/>
                    </a:lnTo>
                    <a:lnTo>
                      <a:pt x="505" y="172"/>
                    </a:lnTo>
                    <a:lnTo>
                      <a:pt x="506" y="172"/>
                    </a:lnTo>
                    <a:lnTo>
                      <a:pt x="500" y="174"/>
                    </a:lnTo>
                    <a:lnTo>
                      <a:pt x="495" y="177"/>
                    </a:lnTo>
                    <a:lnTo>
                      <a:pt x="492" y="181"/>
                    </a:lnTo>
                    <a:lnTo>
                      <a:pt x="488" y="184"/>
                    </a:lnTo>
                    <a:lnTo>
                      <a:pt x="485" y="189"/>
                    </a:lnTo>
                    <a:lnTo>
                      <a:pt x="483" y="193"/>
                    </a:lnTo>
                    <a:lnTo>
                      <a:pt x="482" y="197"/>
                    </a:lnTo>
                    <a:lnTo>
                      <a:pt x="481" y="202"/>
                    </a:lnTo>
                    <a:lnTo>
                      <a:pt x="478" y="221"/>
                    </a:lnTo>
                    <a:lnTo>
                      <a:pt x="480" y="240"/>
                    </a:lnTo>
                    <a:lnTo>
                      <a:pt x="480" y="247"/>
                    </a:lnTo>
                    <a:lnTo>
                      <a:pt x="481" y="252"/>
                    </a:lnTo>
                    <a:lnTo>
                      <a:pt x="483" y="256"/>
                    </a:lnTo>
                    <a:lnTo>
                      <a:pt x="486" y="260"/>
                    </a:lnTo>
                    <a:lnTo>
                      <a:pt x="488" y="262"/>
                    </a:lnTo>
                    <a:lnTo>
                      <a:pt x="493" y="264"/>
                    </a:lnTo>
                    <a:lnTo>
                      <a:pt x="496" y="265"/>
                    </a:lnTo>
                    <a:lnTo>
                      <a:pt x="500" y="266"/>
                    </a:lnTo>
                    <a:lnTo>
                      <a:pt x="516" y="266"/>
                    </a:lnTo>
                    <a:lnTo>
                      <a:pt x="526" y="265"/>
                    </a:lnTo>
                    <a:lnTo>
                      <a:pt x="528" y="279"/>
                    </a:lnTo>
                    <a:lnTo>
                      <a:pt x="532" y="293"/>
                    </a:lnTo>
                    <a:lnTo>
                      <a:pt x="538" y="307"/>
                    </a:lnTo>
                    <a:lnTo>
                      <a:pt x="545" y="319"/>
                    </a:lnTo>
                    <a:lnTo>
                      <a:pt x="554" y="330"/>
                    </a:lnTo>
                    <a:lnTo>
                      <a:pt x="563" y="341"/>
                    </a:lnTo>
                    <a:lnTo>
                      <a:pt x="573" y="351"/>
                    </a:lnTo>
                    <a:lnTo>
                      <a:pt x="583" y="361"/>
                    </a:lnTo>
                    <a:lnTo>
                      <a:pt x="604" y="376"/>
                    </a:lnTo>
                    <a:lnTo>
                      <a:pt x="622" y="388"/>
                    </a:lnTo>
                    <a:lnTo>
                      <a:pt x="637" y="396"/>
                    </a:lnTo>
                    <a:lnTo>
                      <a:pt x="645" y="400"/>
                    </a:lnTo>
                    <a:lnTo>
                      <a:pt x="673" y="408"/>
                    </a:lnTo>
                    <a:lnTo>
                      <a:pt x="696" y="417"/>
                    </a:lnTo>
                    <a:lnTo>
                      <a:pt x="718" y="424"/>
                    </a:lnTo>
                    <a:lnTo>
                      <a:pt x="738" y="430"/>
                    </a:lnTo>
                    <a:lnTo>
                      <a:pt x="758" y="435"/>
                    </a:lnTo>
                    <a:lnTo>
                      <a:pt x="783" y="440"/>
                    </a:lnTo>
                    <a:lnTo>
                      <a:pt x="811" y="445"/>
                    </a:lnTo>
                    <a:lnTo>
                      <a:pt x="845" y="449"/>
                    </a:lnTo>
                    <a:lnTo>
                      <a:pt x="838" y="457"/>
                    </a:lnTo>
                    <a:lnTo>
                      <a:pt x="830" y="465"/>
                    </a:lnTo>
                    <a:lnTo>
                      <a:pt x="821" y="474"/>
                    </a:lnTo>
                    <a:lnTo>
                      <a:pt x="811" y="482"/>
                    </a:lnTo>
                    <a:lnTo>
                      <a:pt x="790" y="498"/>
                    </a:lnTo>
                    <a:lnTo>
                      <a:pt x="768" y="514"/>
                    </a:lnTo>
                    <a:lnTo>
                      <a:pt x="749" y="531"/>
                    </a:lnTo>
                    <a:lnTo>
                      <a:pt x="731" y="547"/>
                    </a:lnTo>
                    <a:lnTo>
                      <a:pt x="723" y="555"/>
                    </a:lnTo>
                    <a:lnTo>
                      <a:pt x="718" y="562"/>
                    </a:lnTo>
                    <a:lnTo>
                      <a:pt x="715" y="570"/>
                    </a:lnTo>
                    <a:lnTo>
                      <a:pt x="712" y="579"/>
                    </a:lnTo>
                    <a:lnTo>
                      <a:pt x="709" y="592"/>
                    </a:lnTo>
                    <a:lnTo>
                      <a:pt x="706" y="602"/>
                    </a:lnTo>
                    <a:lnTo>
                      <a:pt x="701" y="610"/>
                    </a:lnTo>
                    <a:lnTo>
                      <a:pt x="697" y="617"/>
                    </a:lnTo>
                    <a:lnTo>
                      <a:pt x="693" y="622"/>
                    </a:lnTo>
                    <a:lnTo>
                      <a:pt x="686" y="625"/>
                    </a:lnTo>
                    <a:lnTo>
                      <a:pt x="681" y="628"/>
                    </a:lnTo>
                    <a:lnTo>
                      <a:pt x="674" y="629"/>
                    </a:lnTo>
                    <a:lnTo>
                      <a:pt x="643" y="630"/>
                    </a:lnTo>
                    <a:lnTo>
                      <a:pt x="606" y="635"/>
                    </a:lnTo>
                    <a:lnTo>
                      <a:pt x="594" y="643"/>
                    </a:lnTo>
                    <a:lnTo>
                      <a:pt x="580" y="655"/>
                    </a:lnTo>
                    <a:lnTo>
                      <a:pt x="573" y="661"/>
                    </a:lnTo>
                    <a:lnTo>
                      <a:pt x="567" y="666"/>
                    </a:lnTo>
                    <a:lnTo>
                      <a:pt x="563" y="670"/>
                    </a:lnTo>
                    <a:lnTo>
                      <a:pt x="559" y="671"/>
                    </a:lnTo>
                    <a:lnTo>
                      <a:pt x="548" y="673"/>
                    </a:lnTo>
                    <a:lnTo>
                      <a:pt x="539" y="676"/>
                    </a:lnTo>
                    <a:lnTo>
                      <a:pt x="531" y="678"/>
                    </a:lnTo>
                    <a:lnTo>
                      <a:pt x="525" y="681"/>
                    </a:lnTo>
                    <a:lnTo>
                      <a:pt x="513" y="687"/>
                    </a:lnTo>
                    <a:lnTo>
                      <a:pt x="499" y="696"/>
                    </a:lnTo>
                    <a:lnTo>
                      <a:pt x="488" y="696"/>
                    </a:lnTo>
                    <a:lnTo>
                      <a:pt x="482" y="693"/>
                    </a:lnTo>
                    <a:lnTo>
                      <a:pt x="476" y="691"/>
                    </a:lnTo>
                    <a:lnTo>
                      <a:pt x="472" y="686"/>
                    </a:lnTo>
                    <a:lnTo>
                      <a:pt x="468" y="683"/>
                    </a:lnTo>
                    <a:lnTo>
                      <a:pt x="461" y="680"/>
                    </a:lnTo>
                    <a:lnTo>
                      <a:pt x="452" y="678"/>
                    </a:lnTo>
                    <a:lnTo>
                      <a:pt x="440" y="677"/>
                    </a:lnTo>
                    <a:lnTo>
                      <a:pt x="432" y="678"/>
                    </a:lnTo>
                    <a:lnTo>
                      <a:pt x="427" y="679"/>
                    </a:lnTo>
                    <a:lnTo>
                      <a:pt x="421" y="681"/>
                    </a:lnTo>
                    <a:lnTo>
                      <a:pt x="418" y="684"/>
                    </a:lnTo>
                    <a:lnTo>
                      <a:pt x="410" y="692"/>
                    </a:lnTo>
                    <a:lnTo>
                      <a:pt x="405" y="699"/>
                    </a:lnTo>
                    <a:lnTo>
                      <a:pt x="402" y="703"/>
                    </a:lnTo>
                    <a:lnTo>
                      <a:pt x="398" y="707"/>
                    </a:lnTo>
                    <a:lnTo>
                      <a:pt x="394" y="711"/>
                    </a:lnTo>
                    <a:lnTo>
                      <a:pt x="390" y="714"/>
                    </a:lnTo>
                    <a:lnTo>
                      <a:pt x="383" y="717"/>
                    </a:lnTo>
                    <a:lnTo>
                      <a:pt x="376" y="719"/>
                    </a:lnTo>
                    <a:lnTo>
                      <a:pt x="369" y="720"/>
                    </a:lnTo>
                    <a:lnTo>
                      <a:pt x="360" y="720"/>
                    </a:lnTo>
                    <a:lnTo>
                      <a:pt x="348" y="720"/>
                    </a:lnTo>
                    <a:lnTo>
                      <a:pt x="337" y="719"/>
                    </a:lnTo>
                    <a:lnTo>
                      <a:pt x="327" y="717"/>
                    </a:lnTo>
                    <a:lnTo>
                      <a:pt x="318" y="714"/>
                    </a:lnTo>
                    <a:lnTo>
                      <a:pt x="310" y="710"/>
                    </a:lnTo>
                    <a:lnTo>
                      <a:pt x="303" y="706"/>
                    </a:lnTo>
                    <a:lnTo>
                      <a:pt x="295" y="702"/>
                    </a:lnTo>
                    <a:lnTo>
                      <a:pt x="289" y="698"/>
                    </a:lnTo>
                    <a:lnTo>
                      <a:pt x="275" y="688"/>
                    </a:lnTo>
                    <a:lnTo>
                      <a:pt x="261" y="679"/>
                    </a:lnTo>
                    <a:lnTo>
                      <a:pt x="253" y="675"/>
                    </a:lnTo>
                    <a:lnTo>
                      <a:pt x="246" y="671"/>
                    </a:lnTo>
                    <a:lnTo>
                      <a:pt x="237" y="668"/>
                    </a:lnTo>
                    <a:lnTo>
                      <a:pt x="227" y="665"/>
                    </a:lnTo>
                    <a:lnTo>
                      <a:pt x="205" y="662"/>
                    </a:lnTo>
                    <a:lnTo>
                      <a:pt x="181" y="661"/>
                    </a:lnTo>
                    <a:lnTo>
                      <a:pt x="170" y="660"/>
                    </a:lnTo>
                    <a:lnTo>
                      <a:pt x="159" y="659"/>
                    </a:lnTo>
                    <a:lnTo>
                      <a:pt x="149" y="657"/>
                    </a:lnTo>
                    <a:lnTo>
                      <a:pt x="140" y="653"/>
                    </a:lnTo>
                    <a:lnTo>
                      <a:pt x="149" y="632"/>
                    </a:lnTo>
                    <a:lnTo>
                      <a:pt x="153" y="622"/>
                    </a:lnTo>
                    <a:lnTo>
                      <a:pt x="152" y="618"/>
                    </a:lnTo>
                    <a:lnTo>
                      <a:pt x="151" y="614"/>
                    </a:lnTo>
                    <a:lnTo>
                      <a:pt x="147" y="607"/>
                    </a:lnTo>
                    <a:lnTo>
                      <a:pt x="140" y="597"/>
                    </a:lnTo>
                    <a:lnTo>
                      <a:pt x="134" y="597"/>
                    </a:lnTo>
                    <a:lnTo>
                      <a:pt x="127" y="596"/>
                    </a:lnTo>
                    <a:lnTo>
                      <a:pt x="122" y="593"/>
                    </a:lnTo>
                    <a:lnTo>
                      <a:pt x="116" y="590"/>
                    </a:lnTo>
                    <a:lnTo>
                      <a:pt x="112" y="587"/>
                    </a:lnTo>
                    <a:lnTo>
                      <a:pt x="108" y="583"/>
                    </a:lnTo>
                    <a:lnTo>
                      <a:pt x="104" y="577"/>
                    </a:lnTo>
                    <a:lnTo>
                      <a:pt x="102" y="572"/>
                    </a:lnTo>
                    <a:lnTo>
                      <a:pt x="96" y="562"/>
                    </a:lnTo>
                    <a:lnTo>
                      <a:pt x="93" y="551"/>
                    </a:lnTo>
                    <a:lnTo>
                      <a:pt x="90" y="540"/>
                    </a:lnTo>
                    <a:lnTo>
                      <a:pt x="88" y="530"/>
                    </a:lnTo>
                    <a:lnTo>
                      <a:pt x="82" y="519"/>
                    </a:lnTo>
                    <a:lnTo>
                      <a:pt x="77" y="511"/>
                    </a:lnTo>
                    <a:lnTo>
                      <a:pt x="70" y="505"/>
                    </a:lnTo>
                    <a:lnTo>
                      <a:pt x="63" y="499"/>
                    </a:lnTo>
                    <a:lnTo>
                      <a:pt x="57" y="494"/>
                    </a:lnTo>
                    <a:lnTo>
                      <a:pt x="49" y="489"/>
                    </a:lnTo>
                    <a:lnTo>
                      <a:pt x="41" y="483"/>
                    </a:lnTo>
                    <a:lnTo>
                      <a:pt x="34" y="474"/>
                    </a:lnTo>
                    <a:lnTo>
                      <a:pt x="24" y="477"/>
                    </a:lnTo>
                    <a:lnTo>
                      <a:pt x="16" y="477"/>
                    </a:lnTo>
                    <a:lnTo>
                      <a:pt x="12" y="476"/>
                    </a:lnTo>
                    <a:lnTo>
                      <a:pt x="10" y="475"/>
                    </a:lnTo>
                    <a:lnTo>
                      <a:pt x="6" y="474"/>
                    </a:lnTo>
                    <a:lnTo>
                      <a:pt x="5" y="472"/>
                    </a:lnTo>
                    <a:lnTo>
                      <a:pt x="2" y="467"/>
                    </a:lnTo>
                    <a:lnTo>
                      <a:pt x="0" y="461"/>
                    </a:lnTo>
                    <a:lnTo>
                      <a:pt x="1" y="454"/>
                    </a:lnTo>
                    <a:lnTo>
                      <a:pt x="2" y="448"/>
                    </a:lnTo>
                    <a:lnTo>
                      <a:pt x="5" y="441"/>
                    </a:lnTo>
                    <a:lnTo>
                      <a:pt x="9" y="434"/>
                    </a:lnTo>
                    <a:lnTo>
                      <a:pt x="14" y="428"/>
                    </a:lnTo>
                    <a:lnTo>
                      <a:pt x="21" y="422"/>
                    </a:lnTo>
                    <a:lnTo>
                      <a:pt x="27" y="418"/>
                    </a:lnTo>
                    <a:lnTo>
                      <a:pt x="36" y="415"/>
                    </a:lnTo>
                    <a:lnTo>
                      <a:pt x="45" y="413"/>
                    </a:lnTo>
                    <a:lnTo>
                      <a:pt x="55" y="413"/>
                    </a:lnTo>
                    <a:lnTo>
                      <a:pt x="57" y="384"/>
                    </a:lnTo>
                    <a:lnTo>
                      <a:pt x="60" y="360"/>
                    </a:lnTo>
                    <a:lnTo>
                      <a:pt x="63" y="339"/>
                    </a:lnTo>
                    <a:lnTo>
                      <a:pt x="67" y="321"/>
                    </a:lnTo>
                    <a:lnTo>
                      <a:pt x="71" y="306"/>
                    </a:lnTo>
                    <a:lnTo>
                      <a:pt x="74" y="293"/>
                    </a:lnTo>
                    <a:lnTo>
                      <a:pt x="79" y="283"/>
                    </a:lnTo>
                    <a:lnTo>
                      <a:pt x="82" y="275"/>
                    </a:lnTo>
                    <a:lnTo>
                      <a:pt x="87" y="269"/>
                    </a:lnTo>
                    <a:lnTo>
                      <a:pt x="90" y="265"/>
                    </a:lnTo>
                    <a:lnTo>
                      <a:pt x="93" y="262"/>
                    </a:lnTo>
                    <a:lnTo>
                      <a:pt x="95" y="260"/>
                    </a:lnTo>
                    <a:lnTo>
                      <a:pt x="100" y="259"/>
                    </a:lnTo>
                    <a:lnTo>
                      <a:pt x="101" y="259"/>
                    </a:lnTo>
                    <a:lnTo>
                      <a:pt x="101" y="247"/>
                    </a:lnTo>
                    <a:lnTo>
                      <a:pt x="103" y="236"/>
                    </a:lnTo>
                    <a:lnTo>
                      <a:pt x="105" y="227"/>
                    </a:lnTo>
                    <a:lnTo>
                      <a:pt x="108" y="219"/>
                    </a:lnTo>
                    <a:lnTo>
                      <a:pt x="112" y="212"/>
                    </a:lnTo>
                    <a:lnTo>
                      <a:pt x="116" y="206"/>
                    </a:lnTo>
                    <a:lnTo>
                      <a:pt x="122" y="200"/>
                    </a:lnTo>
                    <a:lnTo>
                      <a:pt x="126" y="196"/>
                    </a:lnTo>
                    <a:lnTo>
                      <a:pt x="137" y="186"/>
                    </a:lnTo>
                    <a:lnTo>
                      <a:pt x="148" y="178"/>
                    </a:lnTo>
                    <a:lnTo>
                      <a:pt x="153" y="174"/>
                    </a:lnTo>
                    <a:lnTo>
                      <a:pt x="159" y="170"/>
                    </a:lnTo>
                    <a:lnTo>
                      <a:pt x="163" y="165"/>
                    </a:lnTo>
                    <a:lnTo>
                      <a:pt x="167" y="160"/>
                    </a:lnTo>
                    <a:lnTo>
                      <a:pt x="174" y="25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44" name="Freeform 380"/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3960571" y="4198028"/>
                <a:ext cx="671319" cy="674908"/>
              </a:xfrm>
              <a:custGeom>
                <a:avLst/>
                <a:gdLst/>
                <a:ahLst/>
                <a:cxnLst>
                  <a:cxn ang="0">
                    <a:pos x="60" y="685"/>
                  </a:cxn>
                  <a:cxn ang="0">
                    <a:pos x="91" y="668"/>
                  </a:cxn>
                  <a:cxn ang="0">
                    <a:pos x="126" y="668"/>
                  </a:cxn>
                  <a:cxn ang="0">
                    <a:pos x="196" y="692"/>
                  </a:cxn>
                  <a:cxn ang="0">
                    <a:pos x="245" y="705"/>
                  </a:cxn>
                  <a:cxn ang="0">
                    <a:pos x="292" y="703"/>
                  </a:cxn>
                  <a:cxn ang="0">
                    <a:pos x="611" y="717"/>
                  </a:cxn>
                  <a:cxn ang="0">
                    <a:pos x="651" y="707"/>
                  </a:cxn>
                  <a:cxn ang="0">
                    <a:pos x="627" y="657"/>
                  </a:cxn>
                  <a:cxn ang="0">
                    <a:pos x="664" y="433"/>
                  </a:cxn>
                  <a:cxn ang="0">
                    <a:pos x="709" y="429"/>
                  </a:cxn>
                  <a:cxn ang="0">
                    <a:pos x="723" y="416"/>
                  </a:cxn>
                  <a:cxn ang="0">
                    <a:pos x="734" y="360"/>
                  </a:cxn>
                  <a:cxn ang="0">
                    <a:pos x="722" y="302"/>
                  </a:cxn>
                  <a:cxn ang="0">
                    <a:pos x="708" y="304"/>
                  </a:cxn>
                  <a:cxn ang="0">
                    <a:pos x="676" y="300"/>
                  </a:cxn>
                  <a:cxn ang="0">
                    <a:pos x="634" y="299"/>
                  </a:cxn>
                  <a:cxn ang="0">
                    <a:pos x="623" y="290"/>
                  </a:cxn>
                  <a:cxn ang="0">
                    <a:pos x="617" y="253"/>
                  </a:cxn>
                  <a:cxn ang="0">
                    <a:pos x="607" y="219"/>
                  </a:cxn>
                  <a:cxn ang="0">
                    <a:pos x="597" y="186"/>
                  </a:cxn>
                  <a:cxn ang="0">
                    <a:pos x="607" y="167"/>
                  </a:cxn>
                  <a:cxn ang="0">
                    <a:pos x="617" y="148"/>
                  </a:cxn>
                  <a:cxn ang="0">
                    <a:pos x="611" y="100"/>
                  </a:cxn>
                  <a:cxn ang="0">
                    <a:pos x="544" y="70"/>
                  </a:cxn>
                  <a:cxn ang="0">
                    <a:pos x="477" y="66"/>
                  </a:cxn>
                  <a:cxn ang="0">
                    <a:pos x="471" y="81"/>
                  </a:cxn>
                  <a:cxn ang="0">
                    <a:pos x="463" y="101"/>
                  </a:cxn>
                  <a:cxn ang="0">
                    <a:pos x="440" y="122"/>
                  </a:cxn>
                  <a:cxn ang="0">
                    <a:pos x="392" y="130"/>
                  </a:cxn>
                  <a:cxn ang="0">
                    <a:pos x="364" y="115"/>
                  </a:cxn>
                  <a:cxn ang="0">
                    <a:pos x="339" y="82"/>
                  </a:cxn>
                  <a:cxn ang="0">
                    <a:pos x="319" y="39"/>
                  </a:cxn>
                  <a:cxn ang="0">
                    <a:pos x="312" y="0"/>
                  </a:cxn>
                  <a:cxn ang="0">
                    <a:pos x="30" y="15"/>
                  </a:cxn>
                  <a:cxn ang="0">
                    <a:pos x="47" y="29"/>
                  </a:cxn>
                  <a:cxn ang="0">
                    <a:pos x="75" y="75"/>
                  </a:cxn>
                  <a:cxn ang="0">
                    <a:pos x="102" y="130"/>
                  </a:cxn>
                  <a:cxn ang="0">
                    <a:pos x="103" y="171"/>
                  </a:cxn>
                  <a:cxn ang="0">
                    <a:pos x="93" y="203"/>
                  </a:cxn>
                  <a:cxn ang="0">
                    <a:pos x="96" y="229"/>
                  </a:cxn>
                  <a:cxn ang="0">
                    <a:pos x="119" y="272"/>
                  </a:cxn>
                  <a:cxn ang="0">
                    <a:pos x="131" y="307"/>
                  </a:cxn>
                  <a:cxn ang="0">
                    <a:pos x="127" y="352"/>
                  </a:cxn>
                  <a:cxn ang="0">
                    <a:pos x="106" y="403"/>
                  </a:cxn>
                  <a:cxn ang="0">
                    <a:pos x="77" y="446"/>
                  </a:cxn>
                  <a:cxn ang="0">
                    <a:pos x="41" y="477"/>
                  </a:cxn>
                  <a:cxn ang="0">
                    <a:pos x="25" y="591"/>
                  </a:cxn>
                  <a:cxn ang="0">
                    <a:pos x="11" y="627"/>
                  </a:cxn>
                </a:cxnLst>
                <a:rect l="0" t="0" r="r" b="b"/>
                <a:pathLst>
                  <a:path w="736" h="721">
                    <a:moveTo>
                      <a:pt x="0" y="691"/>
                    </a:moveTo>
                    <a:lnTo>
                      <a:pt x="46" y="697"/>
                    </a:lnTo>
                    <a:lnTo>
                      <a:pt x="53" y="690"/>
                    </a:lnTo>
                    <a:lnTo>
                      <a:pt x="60" y="685"/>
                    </a:lnTo>
                    <a:lnTo>
                      <a:pt x="68" y="679"/>
                    </a:lnTo>
                    <a:lnTo>
                      <a:pt x="75" y="674"/>
                    </a:lnTo>
                    <a:lnTo>
                      <a:pt x="83" y="671"/>
                    </a:lnTo>
                    <a:lnTo>
                      <a:pt x="91" y="668"/>
                    </a:lnTo>
                    <a:lnTo>
                      <a:pt x="97" y="666"/>
                    </a:lnTo>
                    <a:lnTo>
                      <a:pt x="105" y="666"/>
                    </a:lnTo>
                    <a:lnTo>
                      <a:pt x="116" y="666"/>
                    </a:lnTo>
                    <a:lnTo>
                      <a:pt x="126" y="668"/>
                    </a:lnTo>
                    <a:lnTo>
                      <a:pt x="137" y="671"/>
                    </a:lnTo>
                    <a:lnTo>
                      <a:pt x="149" y="674"/>
                    </a:lnTo>
                    <a:lnTo>
                      <a:pt x="172" y="683"/>
                    </a:lnTo>
                    <a:lnTo>
                      <a:pt x="196" y="692"/>
                    </a:lnTo>
                    <a:lnTo>
                      <a:pt x="208" y="696"/>
                    </a:lnTo>
                    <a:lnTo>
                      <a:pt x="220" y="700"/>
                    </a:lnTo>
                    <a:lnTo>
                      <a:pt x="232" y="703"/>
                    </a:lnTo>
                    <a:lnTo>
                      <a:pt x="245" y="705"/>
                    </a:lnTo>
                    <a:lnTo>
                      <a:pt x="257" y="706"/>
                    </a:lnTo>
                    <a:lnTo>
                      <a:pt x="269" y="707"/>
                    </a:lnTo>
                    <a:lnTo>
                      <a:pt x="280" y="706"/>
                    </a:lnTo>
                    <a:lnTo>
                      <a:pt x="292" y="703"/>
                    </a:lnTo>
                    <a:lnTo>
                      <a:pt x="411" y="703"/>
                    </a:lnTo>
                    <a:lnTo>
                      <a:pt x="411" y="721"/>
                    </a:lnTo>
                    <a:lnTo>
                      <a:pt x="604" y="721"/>
                    </a:lnTo>
                    <a:lnTo>
                      <a:pt x="611" y="717"/>
                    </a:lnTo>
                    <a:lnTo>
                      <a:pt x="619" y="714"/>
                    </a:lnTo>
                    <a:lnTo>
                      <a:pt x="627" y="712"/>
                    </a:lnTo>
                    <a:lnTo>
                      <a:pt x="634" y="710"/>
                    </a:lnTo>
                    <a:lnTo>
                      <a:pt x="651" y="707"/>
                    </a:lnTo>
                    <a:lnTo>
                      <a:pt x="671" y="703"/>
                    </a:lnTo>
                    <a:lnTo>
                      <a:pt x="658" y="691"/>
                    </a:lnTo>
                    <a:lnTo>
                      <a:pt x="643" y="674"/>
                    </a:lnTo>
                    <a:lnTo>
                      <a:pt x="627" y="657"/>
                    </a:lnTo>
                    <a:lnTo>
                      <a:pt x="610" y="641"/>
                    </a:lnTo>
                    <a:lnTo>
                      <a:pt x="610" y="432"/>
                    </a:lnTo>
                    <a:lnTo>
                      <a:pt x="631" y="433"/>
                    </a:lnTo>
                    <a:lnTo>
                      <a:pt x="664" y="433"/>
                    </a:lnTo>
                    <a:lnTo>
                      <a:pt x="680" y="433"/>
                    </a:lnTo>
                    <a:lnTo>
                      <a:pt x="696" y="432"/>
                    </a:lnTo>
                    <a:lnTo>
                      <a:pt x="703" y="431"/>
                    </a:lnTo>
                    <a:lnTo>
                      <a:pt x="709" y="429"/>
                    </a:lnTo>
                    <a:lnTo>
                      <a:pt x="713" y="428"/>
                    </a:lnTo>
                    <a:lnTo>
                      <a:pt x="717" y="426"/>
                    </a:lnTo>
                    <a:lnTo>
                      <a:pt x="720" y="421"/>
                    </a:lnTo>
                    <a:lnTo>
                      <a:pt x="723" y="416"/>
                    </a:lnTo>
                    <a:lnTo>
                      <a:pt x="725" y="408"/>
                    </a:lnTo>
                    <a:lnTo>
                      <a:pt x="728" y="400"/>
                    </a:lnTo>
                    <a:lnTo>
                      <a:pt x="732" y="380"/>
                    </a:lnTo>
                    <a:lnTo>
                      <a:pt x="734" y="360"/>
                    </a:lnTo>
                    <a:lnTo>
                      <a:pt x="736" y="324"/>
                    </a:lnTo>
                    <a:lnTo>
                      <a:pt x="736" y="309"/>
                    </a:lnTo>
                    <a:lnTo>
                      <a:pt x="728" y="304"/>
                    </a:lnTo>
                    <a:lnTo>
                      <a:pt x="722" y="302"/>
                    </a:lnTo>
                    <a:lnTo>
                      <a:pt x="718" y="302"/>
                    </a:lnTo>
                    <a:lnTo>
                      <a:pt x="714" y="303"/>
                    </a:lnTo>
                    <a:lnTo>
                      <a:pt x="711" y="304"/>
                    </a:lnTo>
                    <a:lnTo>
                      <a:pt x="708" y="304"/>
                    </a:lnTo>
                    <a:lnTo>
                      <a:pt x="703" y="302"/>
                    </a:lnTo>
                    <a:lnTo>
                      <a:pt x="697" y="297"/>
                    </a:lnTo>
                    <a:lnTo>
                      <a:pt x="685" y="298"/>
                    </a:lnTo>
                    <a:lnTo>
                      <a:pt x="676" y="300"/>
                    </a:lnTo>
                    <a:lnTo>
                      <a:pt x="666" y="302"/>
                    </a:lnTo>
                    <a:lnTo>
                      <a:pt x="650" y="303"/>
                    </a:lnTo>
                    <a:lnTo>
                      <a:pt x="641" y="302"/>
                    </a:lnTo>
                    <a:lnTo>
                      <a:pt x="634" y="299"/>
                    </a:lnTo>
                    <a:lnTo>
                      <a:pt x="631" y="298"/>
                    </a:lnTo>
                    <a:lnTo>
                      <a:pt x="628" y="295"/>
                    </a:lnTo>
                    <a:lnTo>
                      <a:pt x="626" y="293"/>
                    </a:lnTo>
                    <a:lnTo>
                      <a:pt x="623" y="290"/>
                    </a:lnTo>
                    <a:lnTo>
                      <a:pt x="620" y="282"/>
                    </a:lnTo>
                    <a:lnTo>
                      <a:pt x="619" y="274"/>
                    </a:lnTo>
                    <a:lnTo>
                      <a:pt x="618" y="264"/>
                    </a:lnTo>
                    <a:lnTo>
                      <a:pt x="617" y="253"/>
                    </a:lnTo>
                    <a:lnTo>
                      <a:pt x="616" y="244"/>
                    </a:lnTo>
                    <a:lnTo>
                      <a:pt x="613" y="236"/>
                    </a:lnTo>
                    <a:lnTo>
                      <a:pt x="610" y="227"/>
                    </a:lnTo>
                    <a:lnTo>
                      <a:pt x="607" y="219"/>
                    </a:lnTo>
                    <a:lnTo>
                      <a:pt x="604" y="211"/>
                    </a:lnTo>
                    <a:lnTo>
                      <a:pt x="600" y="203"/>
                    </a:lnTo>
                    <a:lnTo>
                      <a:pt x="598" y="195"/>
                    </a:lnTo>
                    <a:lnTo>
                      <a:pt x="597" y="186"/>
                    </a:lnTo>
                    <a:lnTo>
                      <a:pt x="598" y="181"/>
                    </a:lnTo>
                    <a:lnTo>
                      <a:pt x="600" y="177"/>
                    </a:lnTo>
                    <a:lnTo>
                      <a:pt x="604" y="171"/>
                    </a:lnTo>
                    <a:lnTo>
                      <a:pt x="607" y="167"/>
                    </a:lnTo>
                    <a:lnTo>
                      <a:pt x="610" y="162"/>
                    </a:lnTo>
                    <a:lnTo>
                      <a:pt x="613" y="157"/>
                    </a:lnTo>
                    <a:lnTo>
                      <a:pt x="616" y="153"/>
                    </a:lnTo>
                    <a:lnTo>
                      <a:pt x="617" y="148"/>
                    </a:lnTo>
                    <a:lnTo>
                      <a:pt x="616" y="136"/>
                    </a:lnTo>
                    <a:lnTo>
                      <a:pt x="612" y="120"/>
                    </a:lnTo>
                    <a:lnTo>
                      <a:pt x="611" y="109"/>
                    </a:lnTo>
                    <a:lnTo>
                      <a:pt x="611" y="100"/>
                    </a:lnTo>
                    <a:lnTo>
                      <a:pt x="613" y="90"/>
                    </a:lnTo>
                    <a:lnTo>
                      <a:pt x="617" y="81"/>
                    </a:lnTo>
                    <a:lnTo>
                      <a:pt x="594" y="77"/>
                    </a:lnTo>
                    <a:lnTo>
                      <a:pt x="544" y="70"/>
                    </a:lnTo>
                    <a:lnTo>
                      <a:pt x="517" y="67"/>
                    </a:lnTo>
                    <a:lnTo>
                      <a:pt x="494" y="66"/>
                    </a:lnTo>
                    <a:lnTo>
                      <a:pt x="484" y="65"/>
                    </a:lnTo>
                    <a:lnTo>
                      <a:pt x="477" y="66"/>
                    </a:lnTo>
                    <a:lnTo>
                      <a:pt x="473" y="67"/>
                    </a:lnTo>
                    <a:lnTo>
                      <a:pt x="471" y="69"/>
                    </a:lnTo>
                    <a:lnTo>
                      <a:pt x="471" y="73"/>
                    </a:lnTo>
                    <a:lnTo>
                      <a:pt x="471" y="81"/>
                    </a:lnTo>
                    <a:lnTo>
                      <a:pt x="470" y="86"/>
                    </a:lnTo>
                    <a:lnTo>
                      <a:pt x="469" y="91"/>
                    </a:lnTo>
                    <a:lnTo>
                      <a:pt x="466" y="96"/>
                    </a:lnTo>
                    <a:lnTo>
                      <a:pt x="463" y="101"/>
                    </a:lnTo>
                    <a:lnTo>
                      <a:pt x="460" y="107"/>
                    </a:lnTo>
                    <a:lnTo>
                      <a:pt x="454" y="112"/>
                    </a:lnTo>
                    <a:lnTo>
                      <a:pt x="448" y="117"/>
                    </a:lnTo>
                    <a:lnTo>
                      <a:pt x="440" y="122"/>
                    </a:lnTo>
                    <a:lnTo>
                      <a:pt x="430" y="125"/>
                    </a:lnTo>
                    <a:lnTo>
                      <a:pt x="419" y="128"/>
                    </a:lnTo>
                    <a:lnTo>
                      <a:pt x="406" y="130"/>
                    </a:lnTo>
                    <a:lnTo>
                      <a:pt x="392" y="130"/>
                    </a:lnTo>
                    <a:lnTo>
                      <a:pt x="385" y="129"/>
                    </a:lnTo>
                    <a:lnTo>
                      <a:pt x="378" y="127"/>
                    </a:lnTo>
                    <a:lnTo>
                      <a:pt x="372" y="122"/>
                    </a:lnTo>
                    <a:lnTo>
                      <a:pt x="364" y="115"/>
                    </a:lnTo>
                    <a:lnTo>
                      <a:pt x="358" y="108"/>
                    </a:lnTo>
                    <a:lnTo>
                      <a:pt x="351" y="100"/>
                    </a:lnTo>
                    <a:lnTo>
                      <a:pt x="344" y="91"/>
                    </a:lnTo>
                    <a:lnTo>
                      <a:pt x="339" y="82"/>
                    </a:lnTo>
                    <a:lnTo>
                      <a:pt x="333" y="72"/>
                    </a:lnTo>
                    <a:lnTo>
                      <a:pt x="328" y="60"/>
                    </a:lnTo>
                    <a:lnTo>
                      <a:pt x="324" y="50"/>
                    </a:lnTo>
                    <a:lnTo>
                      <a:pt x="319" y="39"/>
                    </a:lnTo>
                    <a:lnTo>
                      <a:pt x="316" y="29"/>
                    </a:lnTo>
                    <a:lnTo>
                      <a:pt x="314" y="19"/>
                    </a:lnTo>
                    <a:lnTo>
                      <a:pt x="312" y="10"/>
                    </a:lnTo>
                    <a:lnTo>
                      <a:pt x="312" y="0"/>
                    </a:lnTo>
                    <a:lnTo>
                      <a:pt x="26" y="0"/>
                    </a:lnTo>
                    <a:lnTo>
                      <a:pt x="26" y="5"/>
                    </a:lnTo>
                    <a:lnTo>
                      <a:pt x="28" y="10"/>
                    </a:lnTo>
                    <a:lnTo>
                      <a:pt x="30" y="15"/>
                    </a:lnTo>
                    <a:lnTo>
                      <a:pt x="34" y="19"/>
                    </a:lnTo>
                    <a:lnTo>
                      <a:pt x="38" y="22"/>
                    </a:lnTo>
                    <a:lnTo>
                      <a:pt x="42" y="26"/>
                    </a:lnTo>
                    <a:lnTo>
                      <a:pt x="47" y="29"/>
                    </a:lnTo>
                    <a:lnTo>
                      <a:pt x="52" y="31"/>
                    </a:lnTo>
                    <a:lnTo>
                      <a:pt x="58" y="47"/>
                    </a:lnTo>
                    <a:lnTo>
                      <a:pt x="67" y="61"/>
                    </a:lnTo>
                    <a:lnTo>
                      <a:pt x="75" y="75"/>
                    </a:lnTo>
                    <a:lnTo>
                      <a:pt x="84" y="89"/>
                    </a:lnTo>
                    <a:lnTo>
                      <a:pt x="92" y="104"/>
                    </a:lnTo>
                    <a:lnTo>
                      <a:pt x="98" y="121"/>
                    </a:lnTo>
                    <a:lnTo>
                      <a:pt x="102" y="130"/>
                    </a:lnTo>
                    <a:lnTo>
                      <a:pt x="104" y="139"/>
                    </a:lnTo>
                    <a:lnTo>
                      <a:pt x="105" y="150"/>
                    </a:lnTo>
                    <a:lnTo>
                      <a:pt x="105" y="161"/>
                    </a:lnTo>
                    <a:lnTo>
                      <a:pt x="103" y="171"/>
                    </a:lnTo>
                    <a:lnTo>
                      <a:pt x="98" y="183"/>
                    </a:lnTo>
                    <a:lnTo>
                      <a:pt x="96" y="190"/>
                    </a:lnTo>
                    <a:lnTo>
                      <a:pt x="94" y="196"/>
                    </a:lnTo>
                    <a:lnTo>
                      <a:pt x="93" y="203"/>
                    </a:lnTo>
                    <a:lnTo>
                      <a:pt x="92" y="210"/>
                    </a:lnTo>
                    <a:lnTo>
                      <a:pt x="93" y="217"/>
                    </a:lnTo>
                    <a:lnTo>
                      <a:pt x="94" y="223"/>
                    </a:lnTo>
                    <a:lnTo>
                      <a:pt x="96" y="229"/>
                    </a:lnTo>
                    <a:lnTo>
                      <a:pt x="98" y="236"/>
                    </a:lnTo>
                    <a:lnTo>
                      <a:pt x="105" y="248"/>
                    </a:lnTo>
                    <a:lnTo>
                      <a:pt x="112" y="260"/>
                    </a:lnTo>
                    <a:lnTo>
                      <a:pt x="119" y="272"/>
                    </a:lnTo>
                    <a:lnTo>
                      <a:pt x="126" y="285"/>
                    </a:lnTo>
                    <a:lnTo>
                      <a:pt x="128" y="293"/>
                    </a:lnTo>
                    <a:lnTo>
                      <a:pt x="130" y="300"/>
                    </a:lnTo>
                    <a:lnTo>
                      <a:pt x="131" y="307"/>
                    </a:lnTo>
                    <a:lnTo>
                      <a:pt x="133" y="315"/>
                    </a:lnTo>
                    <a:lnTo>
                      <a:pt x="131" y="326"/>
                    </a:lnTo>
                    <a:lnTo>
                      <a:pt x="129" y="338"/>
                    </a:lnTo>
                    <a:lnTo>
                      <a:pt x="127" y="352"/>
                    </a:lnTo>
                    <a:lnTo>
                      <a:pt x="123" y="364"/>
                    </a:lnTo>
                    <a:lnTo>
                      <a:pt x="118" y="377"/>
                    </a:lnTo>
                    <a:lnTo>
                      <a:pt x="113" y="389"/>
                    </a:lnTo>
                    <a:lnTo>
                      <a:pt x="106" y="403"/>
                    </a:lnTo>
                    <a:lnTo>
                      <a:pt x="100" y="414"/>
                    </a:lnTo>
                    <a:lnTo>
                      <a:pt x="92" y="426"/>
                    </a:lnTo>
                    <a:lnTo>
                      <a:pt x="84" y="436"/>
                    </a:lnTo>
                    <a:lnTo>
                      <a:pt x="77" y="446"/>
                    </a:lnTo>
                    <a:lnTo>
                      <a:pt x="68" y="457"/>
                    </a:lnTo>
                    <a:lnTo>
                      <a:pt x="59" y="465"/>
                    </a:lnTo>
                    <a:lnTo>
                      <a:pt x="50" y="471"/>
                    </a:lnTo>
                    <a:lnTo>
                      <a:pt x="41" y="477"/>
                    </a:lnTo>
                    <a:lnTo>
                      <a:pt x="33" y="481"/>
                    </a:lnTo>
                    <a:lnTo>
                      <a:pt x="33" y="586"/>
                    </a:lnTo>
                    <a:lnTo>
                      <a:pt x="28" y="588"/>
                    </a:lnTo>
                    <a:lnTo>
                      <a:pt x="25" y="591"/>
                    </a:lnTo>
                    <a:lnTo>
                      <a:pt x="23" y="595"/>
                    </a:lnTo>
                    <a:lnTo>
                      <a:pt x="19" y="600"/>
                    </a:lnTo>
                    <a:lnTo>
                      <a:pt x="15" y="612"/>
                    </a:lnTo>
                    <a:lnTo>
                      <a:pt x="11" y="627"/>
                    </a:lnTo>
                    <a:lnTo>
                      <a:pt x="4" y="659"/>
                    </a:lnTo>
                    <a:lnTo>
                      <a:pt x="0" y="691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45" name="Freeform 381"/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3983950" y="4150023"/>
                <a:ext cx="33399" cy="107306"/>
              </a:xfrm>
              <a:custGeom>
                <a:avLst/>
                <a:gdLst/>
                <a:ahLst/>
                <a:cxnLst>
                  <a:cxn ang="0">
                    <a:pos x="0" y="31"/>
                  </a:cxn>
                  <a:cxn ang="0">
                    <a:pos x="12" y="28"/>
                  </a:cxn>
                  <a:cxn ang="0">
                    <a:pos x="22" y="28"/>
                  </a:cxn>
                  <a:cxn ang="0">
                    <a:pos x="26" y="28"/>
                  </a:cxn>
                  <a:cxn ang="0">
                    <a:pos x="30" y="28"/>
                  </a:cxn>
                  <a:cxn ang="0">
                    <a:pos x="35" y="27"/>
                  </a:cxn>
                  <a:cxn ang="0">
                    <a:pos x="39" y="25"/>
                  </a:cxn>
                  <a:cxn ang="0">
                    <a:pos x="39" y="0"/>
                  </a:cxn>
                  <a:cxn ang="0">
                    <a:pos x="26" y="0"/>
                  </a:cxn>
                  <a:cxn ang="0">
                    <a:pos x="17" y="0"/>
                  </a:cxn>
                  <a:cxn ang="0">
                    <a:pos x="8" y="0"/>
                  </a:cxn>
                  <a:cxn ang="0">
                    <a:pos x="0" y="0"/>
                  </a:cxn>
                  <a:cxn ang="0">
                    <a:pos x="0" y="31"/>
                  </a:cxn>
                </a:cxnLst>
                <a:rect l="0" t="0" r="r" b="b"/>
                <a:pathLst>
                  <a:path w="39" h="31">
                    <a:moveTo>
                      <a:pt x="0" y="31"/>
                    </a:moveTo>
                    <a:lnTo>
                      <a:pt x="12" y="28"/>
                    </a:lnTo>
                    <a:lnTo>
                      <a:pt x="22" y="28"/>
                    </a:lnTo>
                    <a:lnTo>
                      <a:pt x="26" y="28"/>
                    </a:lnTo>
                    <a:lnTo>
                      <a:pt x="30" y="28"/>
                    </a:lnTo>
                    <a:lnTo>
                      <a:pt x="35" y="27"/>
                    </a:lnTo>
                    <a:lnTo>
                      <a:pt x="39" y="25"/>
                    </a:lnTo>
                    <a:lnTo>
                      <a:pt x="39" y="0"/>
                    </a:lnTo>
                    <a:lnTo>
                      <a:pt x="26" y="0"/>
                    </a:lnTo>
                    <a:lnTo>
                      <a:pt x="17" y="0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46" name="Freeform 382"/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197704" y="5115788"/>
                <a:ext cx="834976" cy="708793"/>
              </a:xfrm>
              <a:custGeom>
                <a:avLst/>
                <a:gdLst/>
                <a:ahLst/>
                <a:cxnLst>
                  <a:cxn ang="0">
                    <a:pos x="899" y="291"/>
                  </a:cxn>
                  <a:cxn ang="0">
                    <a:pos x="863" y="388"/>
                  </a:cxn>
                  <a:cxn ang="0">
                    <a:pos x="832" y="414"/>
                  </a:cxn>
                  <a:cxn ang="0">
                    <a:pos x="761" y="507"/>
                  </a:cxn>
                  <a:cxn ang="0">
                    <a:pos x="720" y="561"/>
                  </a:cxn>
                  <a:cxn ang="0">
                    <a:pos x="647" y="613"/>
                  </a:cxn>
                  <a:cxn ang="0">
                    <a:pos x="583" y="666"/>
                  </a:cxn>
                  <a:cxn ang="0">
                    <a:pos x="557" y="698"/>
                  </a:cxn>
                  <a:cxn ang="0">
                    <a:pos x="520" y="705"/>
                  </a:cxn>
                  <a:cxn ang="0">
                    <a:pos x="496" y="710"/>
                  </a:cxn>
                  <a:cxn ang="0">
                    <a:pos x="485" y="727"/>
                  </a:cxn>
                  <a:cxn ang="0">
                    <a:pos x="372" y="727"/>
                  </a:cxn>
                  <a:cxn ang="0">
                    <a:pos x="339" y="732"/>
                  </a:cxn>
                  <a:cxn ang="0">
                    <a:pos x="316" y="732"/>
                  </a:cxn>
                  <a:cxn ang="0">
                    <a:pos x="286" y="727"/>
                  </a:cxn>
                  <a:cxn ang="0">
                    <a:pos x="263" y="737"/>
                  </a:cxn>
                  <a:cxn ang="0">
                    <a:pos x="146" y="759"/>
                  </a:cxn>
                  <a:cxn ang="0">
                    <a:pos x="116" y="753"/>
                  </a:cxn>
                  <a:cxn ang="0">
                    <a:pos x="90" y="739"/>
                  </a:cxn>
                  <a:cxn ang="0">
                    <a:pos x="76" y="719"/>
                  </a:cxn>
                  <a:cxn ang="0">
                    <a:pos x="79" y="697"/>
                  </a:cxn>
                  <a:cxn ang="0">
                    <a:pos x="75" y="628"/>
                  </a:cxn>
                  <a:cxn ang="0">
                    <a:pos x="79" y="608"/>
                  </a:cxn>
                  <a:cxn ang="0">
                    <a:pos x="68" y="572"/>
                  </a:cxn>
                  <a:cxn ang="0">
                    <a:pos x="22" y="516"/>
                  </a:cxn>
                  <a:cxn ang="0">
                    <a:pos x="12" y="484"/>
                  </a:cxn>
                  <a:cxn ang="0">
                    <a:pos x="10" y="439"/>
                  </a:cxn>
                  <a:cxn ang="0">
                    <a:pos x="0" y="377"/>
                  </a:cxn>
                  <a:cxn ang="0">
                    <a:pos x="39" y="377"/>
                  </a:cxn>
                  <a:cxn ang="0">
                    <a:pos x="57" y="396"/>
                  </a:cxn>
                  <a:cxn ang="0">
                    <a:pos x="94" y="410"/>
                  </a:cxn>
                  <a:cxn ang="0">
                    <a:pos x="135" y="411"/>
                  </a:cxn>
                  <a:cxn ang="0">
                    <a:pos x="160" y="400"/>
                  </a:cxn>
                  <a:cxn ang="0">
                    <a:pos x="182" y="372"/>
                  </a:cxn>
                  <a:cxn ang="0">
                    <a:pos x="197" y="229"/>
                  </a:cxn>
                  <a:cxn ang="0">
                    <a:pos x="204" y="184"/>
                  </a:cxn>
                  <a:cxn ang="0">
                    <a:pos x="210" y="168"/>
                  </a:cxn>
                  <a:cxn ang="0">
                    <a:pos x="239" y="178"/>
                  </a:cxn>
                  <a:cxn ang="0">
                    <a:pos x="245" y="238"/>
                  </a:cxn>
                  <a:cxn ang="0">
                    <a:pos x="247" y="274"/>
                  </a:cxn>
                  <a:cxn ang="0">
                    <a:pos x="256" y="287"/>
                  </a:cxn>
                  <a:cxn ang="0">
                    <a:pos x="287" y="295"/>
                  </a:cxn>
                  <a:cxn ang="0">
                    <a:pos x="312" y="293"/>
                  </a:cxn>
                  <a:cxn ang="0">
                    <a:pos x="333" y="272"/>
                  </a:cxn>
                  <a:cxn ang="0">
                    <a:pos x="350" y="234"/>
                  </a:cxn>
                  <a:cxn ang="0">
                    <a:pos x="368" y="201"/>
                  </a:cxn>
                  <a:cxn ang="0">
                    <a:pos x="387" y="191"/>
                  </a:cxn>
                  <a:cxn ang="0">
                    <a:pos x="414" y="193"/>
                  </a:cxn>
                  <a:cxn ang="0">
                    <a:pos x="451" y="208"/>
                  </a:cxn>
                  <a:cxn ang="0">
                    <a:pos x="478" y="216"/>
                  </a:cxn>
                  <a:cxn ang="0">
                    <a:pos x="512" y="213"/>
                  </a:cxn>
                  <a:cxn ang="0">
                    <a:pos x="531" y="200"/>
                  </a:cxn>
                  <a:cxn ang="0">
                    <a:pos x="564" y="127"/>
                  </a:cxn>
                  <a:cxn ang="0">
                    <a:pos x="620" y="80"/>
                  </a:cxn>
                  <a:cxn ang="0">
                    <a:pos x="732" y="11"/>
                  </a:cxn>
                  <a:cxn ang="0">
                    <a:pos x="806" y="3"/>
                  </a:cxn>
                  <a:cxn ang="0">
                    <a:pos x="830" y="6"/>
                  </a:cxn>
                  <a:cxn ang="0">
                    <a:pos x="854" y="35"/>
                  </a:cxn>
                  <a:cxn ang="0">
                    <a:pos x="873" y="71"/>
                  </a:cxn>
                  <a:cxn ang="0">
                    <a:pos x="883" y="107"/>
                  </a:cxn>
                  <a:cxn ang="0">
                    <a:pos x="868" y="207"/>
                  </a:cxn>
                  <a:cxn ang="0">
                    <a:pos x="830" y="204"/>
                  </a:cxn>
                  <a:cxn ang="0">
                    <a:pos x="826" y="281"/>
                  </a:cxn>
                </a:cxnLst>
                <a:rect l="0" t="0" r="r" b="b"/>
                <a:pathLst>
                  <a:path w="903" h="759">
                    <a:moveTo>
                      <a:pt x="870" y="296"/>
                    </a:moveTo>
                    <a:lnTo>
                      <a:pt x="875" y="295"/>
                    </a:lnTo>
                    <a:lnTo>
                      <a:pt x="886" y="293"/>
                    </a:lnTo>
                    <a:lnTo>
                      <a:pt x="899" y="291"/>
                    </a:lnTo>
                    <a:lnTo>
                      <a:pt x="903" y="290"/>
                    </a:lnTo>
                    <a:lnTo>
                      <a:pt x="863" y="364"/>
                    </a:lnTo>
                    <a:lnTo>
                      <a:pt x="863" y="376"/>
                    </a:lnTo>
                    <a:lnTo>
                      <a:pt x="863" y="388"/>
                    </a:lnTo>
                    <a:lnTo>
                      <a:pt x="857" y="392"/>
                    </a:lnTo>
                    <a:lnTo>
                      <a:pt x="849" y="397"/>
                    </a:lnTo>
                    <a:lnTo>
                      <a:pt x="840" y="405"/>
                    </a:lnTo>
                    <a:lnTo>
                      <a:pt x="832" y="414"/>
                    </a:lnTo>
                    <a:lnTo>
                      <a:pt x="813" y="436"/>
                    </a:lnTo>
                    <a:lnTo>
                      <a:pt x="794" y="460"/>
                    </a:lnTo>
                    <a:lnTo>
                      <a:pt x="776" y="485"/>
                    </a:lnTo>
                    <a:lnTo>
                      <a:pt x="761" y="507"/>
                    </a:lnTo>
                    <a:lnTo>
                      <a:pt x="749" y="525"/>
                    </a:lnTo>
                    <a:lnTo>
                      <a:pt x="744" y="537"/>
                    </a:lnTo>
                    <a:lnTo>
                      <a:pt x="732" y="550"/>
                    </a:lnTo>
                    <a:lnTo>
                      <a:pt x="720" y="561"/>
                    </a:lnTo>
                    <a:lnTo>
                      <a:pt x="706" y="571"/>
                    </a:lnTo>
                    <a:lnTo>
                      <a:pt x="694" y="581"/>
                    </a:lnTo>
                    <a:lnTo>
                      <a:pt x="670" y="598"/>
                    </a:lnTo>
                    <a:lnTo>
                      <a:pt x="647" y="613"/>
                    </a:lnTo>
                    <a:lnTo>
                      <a:pt x="624" y="628"/>
                    </a:lnTo>
                    <a:lnTo>
                      <a:pt x="603" y="646"/>
                    </a:lnTo>
                    <a:lnTo>
                      <a:pt x="592" y="655"/>
                    </a:lnTo>
                    <a:lnTo>
                      <a:pt x="583" y="666"/>
                    </a:lnTo>
                    <a:lnTo>
                      <a:pt x="574" y="677"/>
                    </a:lnTo>
                    <a:lnTo>
                      <a:pt x="565" y="690"/>
                    </a:lnTo>
                    <a:lnTo>
                      <a:pt x="561" y="694"/>
                    </a:lnTo>
                    <a:lnTo>
                      <a:pt x="557" y="698"/>
                    </a:lnTo>
                    <a:lnTo>
                      <a:pt x="553" y="700"/>
                    </a:lnTo>
                    <a:lnTo>
                      <a:pt x="546" y="702"/>
                    </a:lnTo>
                    <a:lnTo>
                      <a:pt x="534" y="704"/>
                    </a:lnTo>
                    <a:lnTo>
                      <a:pt x="520" y="705"/>
                    </a:lnTo>
                    <a:lnTo>
                      <a:pt x="513" y="705"/>
                    </a:lnTo>
                    <a:lnTo>
                      <a:pt x="507" y="706"/>
                    </a:lnTo>
                    <a:lnTo>
                      <a:pt x="501" y="708"/>
                    </a:lnTo>
                    <a:lnTo>
                      <a:pt x="496" y="710"/>
                    </a:lnTo>
                    <a:lnTo>
                      <a:pt x="491" y="713"/>
                    </a:lnTo>
                    <a:lnTo>
                      <a:pt x="488" y="716"/>
                    </a:lnTo>
                    <a:lnTo>
                      <a:pt x="486" y="721"/>
                    </a:lnTo>
                    <a:lnTo>
                      <a:pt x="485" y="727"/>
                    </a:lnTo>
                    <a:lnTo>
                      <a:pt x="444" y="727"/>
                    </a:lnTo>
                    <a:lnTo>
                      <a:pt x="415" y="727"/>
                    </a:lnTo>
                    <a:lnTo>
                      <a:pt x="395" y="727"/>
                    </a:lnTo>
                    <a:lnTo>
                      <a:pt x="372" y="727"/>
                    </a:lnTo>
                    <a:lnTo>
                      <a:pt x="359" y="727"/>
                    </a:lnTo>
                    <a:lnTo>
                      <a:pt x="348" y="729"/>
                    </a:lnTo>
                    <a:lnTo>
                      <a:pt x="344" y="730"/>
                    </a:lnTo>
                    <a:lnTo>
                      <a:pt x="339" y="732"/>
                    </a:lnTo>
                    <a:lnTo>
                      <a:pt x="332" y="735"/>
                    </a:lnTo>
                    <a:lnTo>
                      <a:pt x="325" y="739"/>
                    </a:lnTo>
                    <a:lnTo>
                      <a:pt x="320" y="735"/>
                    </a:lnTo>
                    <a:lnTo>
                      <a:pt x="316" y="732"/>
                    </a:lnTo>
                    <a:lnTo>
                      <a:pt x="310" y="730"/>
                    </a:lnTo>
                    <a:lnTo>
                      <a:pt x="306" y="729"/>
                    </a:lnTo>
                    <a:lnTo>
                      <a:pt x="296" y="727"/>
                    </a:lnTo>
                    <a:lnTo>
                      <a:pt x="286" y="727"/>
                    </a:lnTo>
                    <a:lnTo>
                      <a:pt x="283" y="730"/>
                    </a:lnTo>
                    <a:lnTo>
                      <a:pt x="278" y="732"/>
                    </a:lnTo>
                    <a:lnTo>
                      <a:pt x="272" y="735"/>
                    </a:lnTo>
                    <a:lnTo>
                      <a:pt x="263" y="737"/>
                    </a:lnTo>
                    <a:lnTo>
                      <a:pt x="242" y="742"/>
                    </a:lnTo>
                    <a:lnTo>
                      <a:pt x="218" y="747"/>
                    </a:lnTo>
                    <a:lnTo>
                      <a:pt x="173" y="756"/>
                    </a:lnTo>
                    <a:lnTo>
                      <a:pt x="146" y="759"/>
                    </a:lnTo>
                    <a:lnTo>
                      <a:pt x="139" y="758"/>
                    </a:lnTo>
                    <a:lnTo>
                      <a:pt x="131" y="757"/>
                    </a:lnTo>
                    <a:lnTo>
                      <a:pt x="123" y="756"/>
                    </a:lnTo>
                    <a:lnTo>
                      <a:pt x="116" y="753"/>
                    </a:lnTo>
                    <a:lnTo>
                      <a:pt x="109" y="750"/>
                    </a:lnTo>
                    <a:lnTo>
                      <a:pt x="103" y="746"/>
                    </a:lnTo>
                    <a:lnTo>
                      <a:pt x="96" y="743"/>
                    </a:lnTo>
                    <a:lnTo>
                      <a:pt x="90" y="739"/>
                    </a:lnTo>
                    <a:lnTo>
                      <a:pt x="85" y="734"/>
                    </a:lnTo>
                    <a:lnTo>
                      <a:pt x="82" y="730"/>
                    </a:lnTo>
                    <a:lnTo>
                      <a:pt x="78" y="725"/>
                    </a:lnTo>
                    <a:lnTo>
                      <a:pt x="76" y="719"/>
                    </a:lnTo>
                    <a:lnTo>
                      <a:pt x="75" y="714"/>
                    </a:lnTo>
                    <a:lnTo>
                      <a:pt x="75" y="708"/>
                    </a:lnTo>
                    <a:lnTo>
                      <a:pt x="76" y="703"/>
                    </a:lnTo>
                    <a:lnTo>
                      <a:pt x="79" y="697"/>
                    </a:lnTo>
                    <a:lnTo>
                      <a:pt x="60" y="648"/>
                    </a:lnTo>
                    <a:lnTo>
                      <a:pt x="65" y="639"/>
                    </a:lnTo>
                    <a:lnTo>
                      <a:pt x="72" y="632"/>
                    </a:lnTo>
                    <a:lnTo>
                      <a:pt x="75" y="628"/>
                    </a:lnTo>
                    <a:lnTo>
                      <a:pt x="77" y="625"/>
                    </a:lnTo>
                    <a:lnTo>
                      <a:pt x="79" y="621"/>
                    </a:lnTo>
                    <a:lnTo>
                      <a:pt x="79" y="616"/>
                    </a:lnTo>
                    <a:lnTo>
                      <a:pt x="79" y="608"/>
                    </a:lnTo>
                    <a:lnTo>
                      <a:pt x="78" y="600"/>
                    </a:lnTo>
                    <a:lnTo>
                      <a:pt x="76" y="592"/>
                    </a:lnTo>
                    <a:lnTo>
                      <a:pt x="74" y="584"/>
                    </a:lnTo>
                    <a:lnTo>
                      <a:pt x="68" y="572"/>
                    </a:lnTo>
                    <a:lnTo>
                      <a:pt x="61" y="561"/>
                    </a:lnTo>
                    <a:lnTo>
                      <a:pt x="43" y="542"/>
                    </a:lnTo>
                    <a:lnTo>
                      <a:pt x="27" y="524"/>
                    </a:lnTo>
                    <a:lnTo>
                      <a:pt x="22" y="516"/>
                    </a:lnTo>
                    <a:lnTo>
                      <a:pt x="18" y="509"/>
                    </a:lnTo>
                    <a:lnTo>
                      <a:pt x="16" y="502"/>
                    </a:lnTo>
                    <a:lnTo>
                      <a:pt x="14" y="496"/>
                    </a:lnTo>
                    <a:lnTo>
                      <a:pt x="12" y="484"/>
                    </a:lnTo>
                    <a:lnTo>
                      <a:pt x="11" y="472"/>
                    </a:lnTo>
                    <a:lnTo>
                      <a:pt x="11" y="461"/>
                    </a:lnTo>
                    <a:lnTo>
                      <a:pt x="11" y="450"/>
                    </a:lnTo>
                    <a:lnTo>
                      <a:pt x="10" y="439"/>
                    </a:lnTo>
                    <a:lnTo>
                      <a:pt x="7" y="426"/>
                    </a:lnTo>
                    <a:lnTo>
                      <a:pt x="6" y="412"/>
                    </a:lnTo>
                    <a:lnTo>
                      <a:pt x="4" y="395"/>
                    </a:lnTo>
                    <a:lnTo>
                      <a:pt x="0" y="377"/>
                    </a:lnTo>
                    <a:lnTo>
                      <a:pt x="0" y="364"/>
                    </a:lnTo>
                    <a:lnTo>
                      <a:pt x="33" y="364"/>
                    </a:lnTo>
                    <a:lnTo>
                      <a:pt x="36" y="371"/>
                    </a:lnTo>
                    <a:lnTo>
                      <a:pt x="39" y="377"/>
                    </a:lnTo>
                    <a:lnTo>
                      <a:pt x="43" y="382"/>
                    </a:lnTo>
                    <a:lnTo>
                      <a:pt x="48" y="387"/>
                    </a:lnTo>
                    <a:lnTo>
                      <a:pt x="52" y="392"/>
                    </a:lnTo>
                    <a:lnTo>
                      <a:pt x="57" y="396"/>
                    </a:lnTo>
                    <a:lnTo>
                      <a:pt x="63" y="399"/>
                    </a:lnTo>
                    <a:lnTo>
                      <a:pt x="68" y="402"/>
                    </a:lnTo>
                    <a:lnTo>
                      <a:pt x="81" y="407"/>
                    </a:lnTo>
                    <a:lnTo>
                      <a:pt x="94" y="410"/>
                    </a:lnTo>
                    <a:lnTo>
                      <a:pt x="107" y="412"/>
                    </a:lnTo>
                    <a:lnTo>
                      <a:pt x="119" y="413"/>
                    </a:lnTo>
                    <a:lnTo>
                      <a:pt x="128" y="412"/>
                    </a:lnTo>
                    <a:lnTo>
                      <a:pt x="135" y="411"/>
                    </a:lnTo>
                    <a:lnTo>
                      <a:pt x="142" y="409"/>
                    </a:lnTo>
                    <a:lnTo>
                      <a:pt x="149" y="407"/>
                    </a:lnTo>
                    <a:lnTo>
                      <a:pt x="154" y="404"/>
                    </a:lnTo>
                    <a:lnTo>
                      <a:pt x="160" y="400"/>
                    </a:lnTo>
                    <a:lnTo>
                      <a:pt x="164" y="396"/>
                    </a:lnTo>
                    <a:lnTo>
                      <a:pt x="168" y="392"/>
                    </a:lnTo>
                    <a:lnTo>
                      <a:pt x="176" y="382"/>
                    </a:lnTo>
                    <a:lnTo>
                      <a:pt x="182" y="372"/>
                    </a:lnTo>
                    <a:lnTo>
                      <a:pt x="187" y="361"/>
                    </a:lnTo>
                    <a:lnTo>
                      <a:pt x="193" y="351"/>
                    </a:lnTo>
                    <a:lnTo>
                      <a:pt x="193" y="240"/>
                    </a:lnTo>
                    <a:lnTo>
                      <a:pt x="197" y="229"/>
                    </a:lnTo>
                    <a:lnTo>
                      <a:pt x="199" y="217"/>
                    </a:lnTo>
                    <a:lnTo>
                      <a:pt x="201" y="206"/>
                    </a:lnTo>
                    <a:lnTo>
                      <a:pt x="202" y="194"/>
                    </a:lnTo>
                    <a:lnTo>
                      <a:pt x="204" y="184"/>
                    </a:lnTo>
                    <a:lnTo>
                      <a:pt x="206" y="176"/>
                    </a:lnTo>
                    <a:lnTo>
                      <a:pt x="207" y="173"/>
                    </a:lnTo>
                    <a:lnTo>
                      <a:pt x="208" y="170"/>
                    </a:lnTo>
                    <a:lnTo>
                      <a:pt x="210" y="168"/>
                    </a:lnTo>
                    <a:lnTo>
                      <a:pt x="212" y="167"/>
                    </a:lnTo>
                    <a:lnTo>
                      <a:pt x="220" y="171"/>
                    </a:lnTo>
                    <a:lnTo>
                      <a:pt x="229" y="175"/>
                    </a:lnTo>
                    <a:lnTo>
                      <a:pt x="239" y="178"/>
                    </a:lnTo>
                    <a:lnTo>
                      <a:pt x="245" y="179"/>
                    </a:lnTo>
                    <a:lnTo>
                      <a:pt x="245" y="201"/>
                    </a:lnTo>
                    <a:lnTo>
                      <a:pt x="245" y="219"/>
                    </a:lnTo>
                    <a:lnTo>
                      <a:pt x="245" y="238"/>
                    </a:lnTo>
                    <a:lnTo>
                      <a:pt x="245" y="259"/>
                    </a:lnTo>
                    <a:lnTo>
                      <a:pt x="246" y="265"/>
                    </a:lnTo>
                    <a:lnTo>
                      <a:pt x="246" y="270"/>
                    </a:lnTo>
                    <a:lnTo>
                      <a:pt x="247" y="274"/>
                    </a:lnTo>
                    <a:lnTo>
                      <a:pt x="250" y="278"/>
                    </a:lnTo>
                    <a:lnTo>
                      <a:pt x="252" y="281"/>
                    </a:lnTo>
                    <a:lnTo>
                      <a:pt x="254" y="284"/>
                    </a:lnTo>
                    <a:lnTo>
                      <a:pt x="256" y="287"/>
                    </a:lnTo>
                    <a:lnTo>
                      <a:pt x="260" y="289"/>
                    </a:lnTo>
                    <a:lnTo>
                      <a:pt x="267" y="292"/>
                    </a:lnTo>
                    <a:lnTo>
                      <a:pt x="276" y="294"/>
                    </a:lnTo>
                    <a:lnTo>
                      <a:pt x="287" y="295"/>
                    </a:lnTo>
                    <a:lnTo>
                      <a:pt x="299" y="296"/>
                    </a:lnTo>
                    <a:lnTo>
                      <a:pt x="303" y="295"/>
                    </a:lnTo>
                    <a:lnTo>
                      <a:pt x="308" y="295"/>
                    </a:lnTo>
                    <a:lnTo>
                      <a:pt x="312" y="293"/>
                    </a:lnTo>
                    <a:lnTo>
                      <a:pt x="316" y="291"/>
                    </a:lnTo>
                    <a:lnTo>
                      <a:pt x="322" y="286"/>
                    </a:lnTo>
                    <a:lnTo>
                      <a:pt x="329" y="280"/>
                    </a:lnTo>
                    <a:lnTo>
                      <a:pt x="333" y="272"/>
                    </a:lnTo>
                    <a:lnTo>
                      <a:pt x="337" y="263"/>
                    </a:lnTo>
                    <a:lnTo>
                      <a:pt x="342" y="254"/>
                    </a:lnTo>
                    <a:lnTo>
                      <a:pt x="345" y="243"/>
                    </a:lnTo>
                    <a:lnTo>
                      <a:pt x="350" y="234"/>
                    </a:lnTo>
                    <a:lnTo>
                      <a:pt x="353" y="224"/>
                    </a:lnTo>
                    <a:lnTo>
                      <a:pt x="357" y="216"/>
                    </a:lnTo>
                    <a:lnTo>
                      <a:pt x="363" y="208"/>
                    </a:lnTo>
                    <a:lnTo>
                      <a:pt x="368" y="201"/>
                    </a:lnTo>
                    <a:lnTo>
                      <a:pt x="375" y="195"/>
                    </a:lnTo>
                    <a:lnTo>
                      <a:pt x="378" y="193"/>
                    </a:lnTo>
                    <a:lnTo>
                      <a:pt x="382" y="192"/>
                    </a:lnTo>
                    <a:lnTo>
                      <a:pt x="387" y="191"/>
                    </a:lnTo>
                    <a:lnTo>
                      <a:pt x="392" y="191"/>
                    </a:lnTo>
                    <a:lnTo>
                      <a:pt x="400" y="191"/>
                    </a:lnTo>
                    <a:lnTo>
                      <a:pt x="408" y="192"/>
                    </a:lnTo>
                    <a:lnTo>
                      <a:pt x="414" y="193"/>
                    </a:lnTo>
                    <a:lnTo>
                      <a:pt x="421" y="195"/>
                    </a:lnTo>
                    <a:lnTo>
                      <a:pt x="431" y="200"/>
                    </a:lnTo>
                    <a:lnTo>
                      <a:pt x="441" y="204"/>
                    </a:lnTo>
                    <a:lnTo>
                      <a:pt x="451" y="208"/>
                    </a:lnTo>
                    <a:lnTo>
                      <a:pt x="460" y="212"/>
                    </a:lnTo>
                    <a:lnTo>
                      <a:pt x="466" y="214"/>
                    </a:lnTo>
                    <a:lnTo>
                      <a:pt x="471" y="215"/>
                    </a:lnTo>
                    <a:lnTo>
                      <a:pt x="478" y="216"/>
                    </a:lnTo>
                    <a:lnTo>
                      <a:pt x="485" y="216"/>
                    </a:lnTo>
                    <a:lnTo>
                      <a:pt x="496" y="216"/>
                    </a:lnTo>
                    <a:lnTo>
                      <a:pt x="504" y="215"/>
                    </a:lnTo>
                    <a:lnTo>
                      <a:pt x="512" y="213"/>
                    </a:lnTo>
                    <a:lnTo>
                      <a:pt x="518" y="211"/>
                    </a:lnTo>
                    <a:lnTo>
                      <a:pt x="523" y="208"/>
                    </a:lnTo>
                    <a:lnTo>
                      <a:pt x="527" y="204"/>
                    </a:lnTo>
                    <a:lnTo>
                      <a:pt x="531" y="200"/>
                    </a:lnTo>
                    <a:lnTo>
                      <a:pt x="534" y="194"/>
                    </a:lnTo>
                    <a:lnTo>
                      <a:pt x="544" y="169"/>
                    </a:lnTo>
                    <a:lnTo>
                      <a:pt x="558" y="135"/>
                    </a:lnTo>
                    <a:lnTo>
                      <a:pt x="564" y="127"/>
                    </a:lnTo>
                    <a:lnTo>
                      <a:pt x="572" y="119"/>
                    </a:lnTo>
                    <a:lnTo>
                      <a:pt x="582" y="110"/>
                    </a:lnTo>
                    <a:lnTo>
                      <a:pt x="593" y="100"/>
                    </a:lnTo>
                    <a:lnTo>
                      <a:pt x="620" y="80"/>
                    </a:lnTo>
                    <a:lnTo>
                      <a:pt x="649" y="61"/>
                    </a:lnTo>
                    <a:lnTo>
                      <a:pt x="679" y="43"/>
                    </a:lnTo>
                    <a:lnTo>
                      <a:pt x="708" y="25"/>
                    </a:lnTo>
                    <a:lnTo>
                      <a:pt x="732" y="11"/>
                    </a:lnTo>
                    <a:lnTo>
                      <a:pt x="750" y="0"/>
                    </a:lnTo>
                    <a:lnTo>
                      <a:pt x="777" y="1"/>
                    </a:lnTo>
                    <a:lnTo>
                      <a:pt x="798" y="3"/>
                    </a:lnTo>
                    <a:lnTo>
                      <a:pt x="806" y="3"/>
                    </a:lnTo>
                    <a:lnTo>
                      <a:pt x="815" y="3"/>
                    </a:lnTo>
                    <a:lnTo>
                      <a:pt x="823" y="2"/>
                    </a:lnTo>
                    <a:lnTo>
                      <a:pt x="830" y="0"/>
                    </a:lnTo>
                    <a:lnTo>
                      <a:pt x="830" y="6"/>
                    </a:lnTo>
                    <a:lnTo>
                      <a:pt x="850" y="6"/>
                    </a:lnTo>
                    <a:lnTo>
                      <a:pt x="850" y="17"/>
                    </a:lnTo>
                    <a:lnTo>
                      <a:pt x="851" y="26"/>
                    </a:lnTo>
                    <a:lnTo>
                      <a:pt x="854" y="35"/>
                    </a:lnTo>
                    <a:lnTo>
                      <a:pt x="856" y="41"/>
                    </a:lnTo>
                    <a:lnTo>
                      <a:pt x="861" y="52"/>
                    </a:lnTo>
                    <a:lnTo>
                      <a:pt x="867" y="62"/>
                    </a:lnTo>
                    <a:lnTo>
                      <a:pt x="873" y="71"/>
                    </a:lnTo>
                    <a:lnTo>
                      <a:pt x="879" y="82"/>
                    </a:lnTo>
                    <a:lnTo>
                      <a:pt x="880" y="90"/>
                    </a:lnTo>
                    <a:lnTo>
                      <a:pt x="882" y="98"/>
                    </a:lnTo>
                    <a:lnTo>
                      <a:pt x="883" y="107"/>
                    </a:lnTo>
                    <a:lnTo>
                      <a:pt x="883" y="117"/>
                    </a:lnTo>
                    <a:lnTo>
                      <a:pt x="883" y="204"/>
                    </a:lnTo>
                    <a:lnTo>
                      <a:pt x="875" y="206"/>
                    </a:lnTo>
                    <a:lnTo>
                      <a:pt x="868" y="207"/>
                    </a:lnTo>
                    <a:lnTo>
                      <a:pt x="860" y="207"/>
                    </a:lnTo>
                    <a:lnTo>
                      <a:pt x="852" y="206"/>
                    </a:lnTo>
                    <a:lnTo>
                      <a:pt x="838" y="205"/>
                    </a:lnTo>
                    <a:lnTo>
                      <a:pt x="830" y="204"/>
                    </a:lnTo>
                    <a:lnTo>
                      <a:pt x="826" y="236"/>
                    </a:lnTo>
                    <a:lnTo>
                      <a:pt x="825" y="262"/>
                    </a:lnTo>
                    <a:lnTo>
                      <a:pt x="826" y="272"/>
                    </a:lnTo>
                    <a:lnTo>
                      <a:pt x="826" y="281"/>
                    </a:lnTo>
                    <a:lnTo>
                      <a:pt x="828" y="289"/>
                    </a:lnTo>
                    <a:lnTo>
                      <a:pt x="830" y="296"/>
                    </a:lnTo>
                    <a:lnTo>
                      <a:pt x="870" y="296"/>
                    </a:lnTo>
                  </a:path>
                </a:pathLst>
              </a:custGeom>
              <a:solidFill>
                <a:schemeClr val="accent1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47" name="Freeform 383"/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508315" y="2568649"/>
                <a:ext cx="865034" cy="1087193"/>
              </a:xfrm>
              <a:custGeom>
                <a:avLst/>
                <a:gdLst/>
                <a:ahLst/>
                <a:cxnLst>
                  <a:cxn ang="0">
                    <a:pos x="742" y="5"/>
                  </a:cxn>
                  <a:cxn ang="0">
                    <a:pos x="765" y="23"/>
                  </a:cxn>
                  <a:cxn ang="0">
                    <a:pos x="803" y="30"/>
                  </a:cxn>
                  <a:cxn ang="0">
                    <a:pos x="814" y="55"/>
                  </a:cxn>
                  <a:cxn ang="0">
                    <a:pos x="835" y="109"/>
                  </a:cxn>
                  <a:cxn ang="0">
                    <a:pos x="837" y="187"/>
                  </a:cxn>
                  <a:cxn ang="0">
                    <a:pos x="857" y="243"/>
                  </a:cxn>
                  <a:cxn ang="0">
                    <a:pos x="922" y="292"/>
                  </a:cxn>
                  <a:cxn ang="0">
                    <a:pos x="879" y="361"/>
                  </a:cxn>
                  <a:cxn ang="0">
                    <a:pos x="851" y="410"/>
                  </a:cxn>
                  <a:cxn ang="0">
                    <a:pos x="809" y="635"/>
                  </a:cxn>
                  <a:cxn ang="0">
                    <a:pos x="770" y="677"/>
                  </a:cxn>
                  <a:cxn ang="0">
                    <a:pos x="763" y="721"/>
                  </a:cxn>
                  <a:cxn ang="0">
                    <a:pos x="745" y="735"/>
                  </a:cxn>
                  <a:cxn ang="0">
                    <a:pos x="723" y="798"/>
                  </a:cxn>
                  <a:cxn ang="0">
                    <a:pos x="692" y="877"/>
                  </a:cxn>
                  <a:cxn ang="0">
                    <a:pos x="662" y="903"/>
                  </a:cxn>
                  <a:cxn ang="0">
                    <a:pos x="664" y="934"/>
                  </a:cxn>
                  <a:cxn ang="0">
                    <a:pos x="686" y="939"/>
                  </a:cxn>
                  <a:cxn ang="0">
                    <a:pos x="709" y="950"/>
                  </a:cxn>
                  <a:cxn ang="0">
                    <a:pos x="742" y="971"/>
                  </a:cxn>
                  <a:cxn ang="0">
                    <a:pos x="756" y="1007"/>
                  </a:cxn>
                  <a:cxn ang="0">
                    <a:pos x="775" y="1043"/>
                  </a:cxn>
                  <a:cxn ang="0">
                    <a:pos x="803" y="1053"/>
                  </a:cxn>
                  <a:cxn ang="0">
                    <a:pos x="809" y="1094"/>
                  </a:cxn>
                  <a:cxn ang="0">
                    <a:pos x="718" y="1115"/>
                  </a:cxn>
                  <a:cxn ang="0">
                    <a:pos x="687" y="1157"/>
                  </a:cxn>
                  <a:cxn ang="0">
                    <a:pos x="598" y="1170"/>
                  </a:cxn>
                  <a:cxn ang="0">
                    <a:pos x="515" y="1158"/>
                  </a:cxn>
                  <a:cxn ang="0">
                    <a:pos x="464" y="1123"/>
                  </a:cxn>
                  <a:cxn ang="0">
                    <a:pos x="390" y="1125"/>
                  </a:cxn>
                  <a:cxn ang="0">
                    <a:pos x="319" y="1120"/>
                  </a:cxn>
                  <a:cxn ang="0">
                    <a:pos x="297" y="1104"/>
                  </a:cxn>
                  <a:cxn ang="0">
                    <a:pos x="294" y="1075"/>
                  </a:cxn>
                  <a:cxn ang="0">
                    <a:pos x="274" y="1029"/>
                  </a:cxn>
                  <a:cxn ang="0">
                    <a:pos x="216" y="974"/>
                  </a:cxn>
                  <a:cxn ang="0">
                    <a:pos x="193" y="925"/>
                  </a:cxn>
                  <a:cxn ang="0">
                    <a:pos x="152" y="903"/>
                  </a:cxn>
                  <a:cxn ang="0">
                    <a:pos x="120" y="846"/>
                  </a:cxn>
                  <a:cxn ang="0">
                    <a:pos x="97" y="788"/>
                  </a:cxn>
                  <a:cxn ang="0">
                    <a:pos x="65" y="758"/>
                  </a:cxn>
                  <a:cxn ang="0">
                    <a:pos x="33" y="676"/>
                  </a:cxn>
                  <a:cxn ang="0">
                    <a:pos x="4" y="611"/>
                  </a:cxn>
                  <a:cxn ang="0">
                    <a:pos x="18" y="577"/>
                  </a:cxn>
                  <a:cxn ang="0">
                    <a:pos x="29" y="521"/>
                  </a:cxn>
                  <a:cxn ang="0">
                    <a:pos x="64" y="474"/>
                  </a:cxn>
                  <a:cxn ang="0">
                    <a:pos x="113" y="222"/>
                  </a:cxn>
                  <a:cxn ang="0">
                    <a:pos x="123" y="179"/>
                  </a:cxn>
                  <a:cxn ang="0">
                    <a:pos x="153" y="171"/>
                  </a:cxn>
                  <a:cxn ang="0">
                    <a:pos x="160" y="122"/>
                  </a:cxn>
                  <a:cxn ang="0">
                    <a:pos x="159" y="67"/>
                  </a:cxn>
                  <a:cxn ang="0">
                    <a:pos x="679" y="69"/>
                  </a:cxn>
                </a:cxnLst>
                <a:rect l="0" t="0" r="r" b="b"/>
                <a:pathLst>
                  <a:path w="943" h="1172">
                    <a:moveTo>
                      <a:pt x="711" y="30"/>
                    </a:moveTo>
                    <a:lnTo>
                      <a:pt x="715" y="25"/>
                    </a:lnTo>
                    <a:lnTo>
                      <a:pt x="728" y="15"/>
                    </a:lnTo>
                    <a:lnTo>
                      <a:pt x="735" y="9"/>
                    </a:lnTo>
                    <a:lnTo>
                      <a:pt x="742" y="5"/>
                    </a:lnTo>
                    <a:lnTo>
                      <a:pt x="747" y="1"/>
                    </a:lnTo>
                    <a:lnTo>
                      <a:pt x="751" y="0"/>
                    </a:lnTo>
                    <a:lnTo>
                      <a:pt x="755" y="10"/>
                    </a:lnTo>
                    <a:lnTo>
                      <a:pt x="759" y="17"/>
                    </a:lnTo>
                    <a:lnTo>
                      <a:pt x="765" y="23"/>
                    </a:lnTo>
                    <a:lnTo>
                      <a:pt x="769" y="26"/>
                    </a:lnTo>
                    <a:lnTo>
                      <a:pt x="776" y="28"/>
                    </a:lnTo>
                    <a:lnTo>
                      <a:pt x="784" y="30"/>
                    </a:lnTo>
                    <a:lnTo>
                      <a:pt x="792" y="30"/>
                    </a:lnTo>
                    <a:lnTo>
                      <a:pt x="803" y="30"/>
                    </a:lnTo>
                    <a:lnTo>
                      <a:pt x="804" y="40"/>
                    </a:lnTo>
                    <a:lnTo>
                      <a:pt x="808" y="48"/>
                    </a:lnTo>
                    <a:lnTo>
                      <a:pt x="810" y="51"/>
                    </a:lnTo>
                    <a:lnTo>
                      <a:pt x="812" y="53"/>
                    </a:lnTo>
                    <a:lnTo>
                      <a:pt x="814" y="55"/>
                    </a:lnTo>
                    <a:lnTo>
                      <a:pt x="816" y="55"/>
                    </a:lnTo>
                    <a:lnTo>
                      <a:pt x="823" y="76"/>
                    </a:lnTo>
                    <a:lnTo>
                      <a:pt x="830" y="94"/>
                    </a:lnTo>
                    <a:lnTo>
                      <a:pt x="832" y="102"/>
                    </a:lnTo>
                    <a:lnTo>
                      <a:pt x="835" y="109"/>
                    </a:lnTo>
                    <a:lnTo>
                      <a:pt x="836" y="116"/>
                    </a:lnTo>
                    <a:lnTo>
                      <a:pt x="837" y="123"/>
                    </a:lnTo>
                    <a:lnTo>
                      <a:pt x="836" y="150"/>
                    </a:lnTo>
                    <a:lnTo>
                      <a:pt x="836" y="175"/>
                    </a:lnTo>
                    <a:lnTo>
                      <a:pt x="837" y="187"/>
                    </a:lnTo>
                    <a:lnTo>
                      <a:pt x="838" y="200"/>
                    </a:lnTo>
                    <a:lnTo>
                      <a:pt x="842" y="211"/>
                    </a:lnTo>
                    <a:lnTo>
                      <a:pt x="845" y="222"/>
                    </a:lnTo>
                    <a:lnTo>
                      <a:pt x="851" y="232"/>
                    </a:lnTo>
                    <a:lnTo>
                      <a:pt x="857" y="243"/>
                    </a:lnTo>
                    <a:lnTo>
                      <a:pt x="866" y="253"/>
                    </a:lnTo>
                    <a:lnTo>
                      <a:pt x="876" y="264"/>
                    </a:lnTo>
                    <a:lnTo>
                      <a:pt x="889" y="273"/>
                    </a:lnTo>
                    <a:lnTo>
                      <a:pt x="904" y="283"/>
                    </a:lnTo>
                    <a:lnTo>
                      <a:pt x="922" y="292"/>
                    </a:lnTo>
                    <a:lnTo>
                      <a:pt x="943" y="301"/>
                    </a:lnTo>
                    <a:lnTo>
                      <a:pt x="928" y="314"/>
                    </a:lnTo>
                    <a:lnTo>
                      <a:pt x="913" y="328"/>
                    </a:lnTo>
                    <a:lnTo>
                      <a:pt x="896" y="344"/>
                    </a:lnTo>
                    <a:lnTo>
                      <a:pt x="879" y="361"/>
                    </a:lnTo>
                    <a:lnTo>
                      <a:pt x="871" y="370"/>
                    </a:lnTo>
                    <a:lnTo>
                      <a:pt x="865" y="380"/>
                    </a:lnTo>
                    <a:lnTo>
                      <a:pt x="859" y="389"/>
                    </a:lnTo>
                    <a:lnTo>
                      <a:pt x="854" y="399"/>
                    </a:lnTo>
                    <a:lnTo>
                      <a:pt x="851" y="410"/>
                    </a:lnTo>
                    <a:lnTo>
                      <a:pt x="849" y="420"/>
                    </a:lnTo>
                    <a:lnTo>
                      <a:pt x="848" y="432"/>
                    </a:lnTo>
                    <a:lnTo>
                      <a:pt x="851" y="443"/>
                    </a:lnTo>
                    <a:lnTo>
                      <a:pt x="830" y="616"/>
                    </a:lnTo>
                    <a:lnTo>
                      <a:pt x="809" y="635"/>
                    </a:lnTo>
                    <a:lnTo>
                      <a:pt x="787" y="652"/>
                    </a:lnTo>
                    <a:lnTo>
                      <a:pt x="782" y="658"/>
                    </a:lnTo>
                    <a:lnTo>
                      <a:pt x="778" y="663"/>
                    </a:lnTo>
                    <a:lnTo>
                      <a:pt x="774" y="670"/>
                    </a:lnTo>
                    <a:lnTo>
                      <a:pt x="770" y="677"/>
                    </a:lnTo>
                    <a:lnTo>
                      <a:pt x="767" y="686"/>
                    </a:lnTo>
                    <a:lnTo>
                      <a:pt x="766" y="696"/>
                    </a:lnTo>
                    <a:lnTo>
                      <a:pt x="764" y="708"/>
                    </a:lnTo>
                    <a:lnTo>
                      <a:pt x="764" y="721"/>
                    </a:lnTo>
                    <a:lnTo>
                      <a:pt x="763" y="721"/>
                    </a:lnTo>
                    <a:lnTo>
                      <a:pt x="758" y="721"/>
                    </a:lnTo>
                    <a:lnTo>
                      <a:pt x="755" y="723"/>
                    </a:lnTo>
                    <a:lnTo>
                      <a:pt x="752" y="726"/>
                    </a:lnTo>
                    <a:lnTo>
                      <a:pt x="748" y="730"/>
                    </a:lnTo>
                    <a:lnTo>
                      <a:pt x="745" y="735"/>
                    </a:lnTo>
                    <a:lnTo>
                      <a:pt x="741" y="743"/>
                    </a:lnTo>
                    <a:lnTo>
                      <a:pt x="736" y="752"/>
                    </a:lnTo>
                    <a:lnTo>
                      <a:pt x="732" y="766"/>
                    </a:lnTo>
                    <a:lnTo>
                      <a:pt x="728" y="780"/>
                    </a:lnTo>
                    <a:lnTo>
                      <a:pt x="723" y="798"/>
                    </a:lnTo>
                    <a:lnTo>
                      <a:pt x="719" y="821"/>
                    </a:lnTo>
                    <a:lnTo>
                      <a:pt x="714" y="845"/>
                    </a:lnTo>
                    <a:lnTo>
                      <a:pt x="711" y="875"/>
                    </a:lnTo>
                    <a:lnTo>
                      <a:pt x="701" y="875"/>
                    </a:lnTo>
                    <a:lnTo>
                      <a:pt x="692" y="877"/>
                    </a:lnTo>
                    <a:lnTo>
                      <a:pt x="684" y="880"/>
                    </a:lnTo>
                    <a:lnTo>
                      <a:pt x="677" y="884"/>
                    </a:lnTo>
                    <a:lnTo>
                      <a:pt x="670" y="890"/>
                    </a:lnTo>
                    <a:lnTo>
                      <a:pt x="665" y="896"/>
                    </a:lnTo>
                    <a:lnTo>
                      <a:pt x="662" y="903"/>
                    </a:lnTo>
                    <a:lnTo>
                      <a:pt x="659" y="910"/>
                    </a:lnTo>
                    <a:lnTo>
                      <a:pt x="658" y="917"/>
                    </a:lnTo>
                    <a:lnTo>
                      <a:pt x="658" y="924"/>
                    </a:lnTo>
                    <a:lnTo>
                      <a:pt x="661" y="929"/>
                    </a:lnTo>
                    <a:lnTo>
                      <a:pt x="664" y="934"/>
                    </a:lnTo>
                    <a:lnTo>
                      <a:pt x="666" y="936"/>
                    </a:lnTo>
                    <a:lnTo>
                      <a:pt x="669" y="937"/>
                    </a:lnTo>
                    <a:lnTo>
                      <a:pt x="673" y="938"/>
                    </a:lnTo>
                    <a:lnTo>
                      <a:pt x="677" y="939"/>
                    </a:lnTo>
                    <a:lnTo>
                      <a:pt x="686" y="939"/>
                    </a:lnTo>
                    <a:lnTo>
                      <a:pt x="697" y="936"/>
                    </a:lnTo>
                    <a:lnTo>
                      <a:pt x="700" y="941"/>
                    </a:lnTo>
                    <a:lnTo>
                      <a:pt x="702" y="944"/>
                    </a:lnTo>
                    <a:lnTo>
                      <a:pt x="706" y="947"/>
                    </a:lnTo>
                    <a:lnTo>
                      <a:pt x="709" y="950"/>
                    </a:lnTo>
                    <a:lnTo>
                      <a:pt x="717" y="955"/>
                    </a:lnTo>
                    <a:lnTo>
                      <a:pt x="724" y="958"/>
                    </a:lnTo>
                    <a:lnTo>
                      <a:pt x="731" y="963"/>
                    </a:lnTo>
                    <a:lnTo>
                      <a:pt x="739" y="968"/>
                    </a:lnTo>
                    <a:lnTo>
                      <a:pt x="742" y="971"/>
                    </a:lnTo>
                    <a:lnTo>
                      <a:pt x="745" y="975"/>
                    </a:lnTo>
                    <a:lnTo>
                      <a:pt x="747" y="981"/>
                    </a:lnTo>
                    <a:lnTo>
                      <a:pt x="751" y="986"/>
                    </a:lnTo>
                    <a:lnTo>
                      <a:pt x="753" y="996"/>
                    </a:lnTo>
                    <a:lnTo>
                      <a:pt x="756" y="1007"/>
                    </a:lnTo>
                    <a:lnTo>
                      <a:pt x="759" y="1018"/>
                    </a:lnTo>
                    <a:lnTo>
                      <a:pt x="765" y="1028"/>
                    </a:lnTo>
                    <a:lnTo>
                      <a:pt x="767" y="1033"/>
                    </a:lnTo>
                    <a:lnTo>
                      <a:pt x="771" y="1039"/>
                    </a:lnTo>
                    <a:lnTo>
                      <a:pt x="775" y="1043"/>
                    </a:lnTo>
                    <a:lnTo>
                      <a:pt x="779" y="1046"/>
                    </a:lnTo>
                    <a:lnTo>
                      <a:pt x="785" y="1049"/>
                    </a:lnTo>
                    <a:lnTo>
                      <a:pt x="790" y="1052"/>
                    </a:lnTo>
                    <a:lnTo>
                      <a:pt x="797" y="1053"/>
                    </a:lnTo>
                    <a:lnTo>
                      <a:pt x="803" y="1053"/>
                    </a:lnTo>
                    <a:lnTo>
                      <a:pt x="810" y="1063"/>
                    </a:lnTo>
                    <a:lnTo>
                      <a:pt x="814" y="1071"/>
                    </a:lnTo>
                    <a:lnTo>
                      <a:pt x="815" y="1076"/>
                    </a:lnTo>
                    <a:lnTo>
                      <a:pt x="815" y="1081"/>
                    </a:lnTo>
                    <a:lnTo>
                      <a:pt x="809" y="1094"/>
                    </a:lnTo>
                    <a:lnTo>
                      <a:pt x="797" y="1115"/>
                    </a:lnTo>
                    <a:lnTo>
                      <a:pt x="776" y="1115"/>
                    </a:lnTo>
                    <a:lnTo>
                      <a:pt x="755" y="1115"/>
                    </a:lnTo>
                    <a:lnTo>
                      <a:pt x="734" y="1115"/>
                    </a:lnTo>
                    <a:lnTo>
                      <a:pt x="718" y="1115"/>
                    </a:lnTo>
                    <a:lnTo>
                      <a:pt x="718" y="1127"/>
                    </a:lnTo>
                    <a:lnTo>
                      <a:pt x="718" y="1139"/>
                    </a:lnTo>
                    <a:lnTo>
                      <a:pt x="711" y="1143"/>
                    </a:lnTo>
                    <a:lnTo>
                      <a:pt x="697" y="1152"/>
                    </a:lnTo>
                    <a:lnTo>
                      <a:pt x="687" y="1157"/>
                    </a:lnTo>
                    <a:lnTo>
                      <a:pt x="675" y="1161"/>
                    </a:lnTo>
                    <a:lnTo>
                      <a:pt x="663" y="1163"/>
                    </a:lnTo>
                    <a:lnTo>
                      <a:pt x="651" y="1164"/>
                    </a:lnTo>
                    <a:lnTo>
                      <a:pt x="628" y="1166"/>
                    </a:lnTo>
                    <a:lnTo>
                      <a:pt x="598" y="1170"/>
                    </a:lnTo>
                    <a:lnTo>
                      <a:pt x="583" y="1171"/>
                    </a:lnTo>
                    <a:lnTo>
                      <a:pt x="566" y="1172"/>
                    </a:lnTo>
                    <a:lnTo>
                      <a:pt x="549" y="1172"/>
                    </a:lnTo>
                    <a:lnTo>
                      <a:pt x="531" y="1170"/>
                    </a:lnTo>
                    <a:lnTo>
                      <a:pt x="515" y="1158"/>
                    </a:lnTo>
                    <a:lnTo>
                      <a:pt x="496" y="1141"/>
                    </a:lnTo>
                    <a:lnTo>
                      <a:pt x="486" y="1133"/>
                    </a:lnTo>
                    <a:lnTo>
                      <a:pt x="475" y="1127"/>
                    </a:lnTo>
                    <a:lnTo>
                      <a:pt x="470" y="1124"/>
                    </a:lnTo>
                    <a:lnTo>
                      <a:pt x="464" y="1123"/>
                    </a:lnTo>
                    <a:lnTo>
                      <a:pt x="457" y="1121"/>
                    </a:lnTo>
                    <a:lnTo>
                      <a:pt x="452" y="1121"/>
                    </a:lnTo>
                    <a:lnTo>
                      <a:pt x="432" y="1122"/>
                    </a:lnTo>
                    <a:lnTo>
                      <a:pt x="405" y="1124"/>
                    </a:lnTo>
                    <a:lnTo>
                      <a:pt x="390" y="1125"/>
                    </a:lnTo>
                    <a:lnTo>
                      <a:pt x="375" y="1126"/>
                    </a:lnTo>
                    <a:lnTo>
                      <a:pt x="360" y="1126"/>
                    </a:lnTo>
                    <a:lnTo>
                      <a:pt x="345" y="1125"/>
                    </a:lnTo>
                    <a:lnTo>
                      <a:pt x="331" y="1123"/>
                    </a:lnTo>
                    <a:lnTo>
                      <a:pt x="319" y="1120"/>
                    </a:lnTo>
                    <a:lnTo>
                      <a:pt x="314" y="1117"/>
                    </a:lnTo>
                    <a:lnTo>
                      <a:pt x="308" y="1115"/>
                    </a:lnTo>
                    <a:lnTo>
                      <a:pt x="304" y="1112"/>
                    </a:lnTo>
                    <a:lnTo>
                      <a:pt x="300" y="1108"/>
                    </a:lnTo>
                    <a:lnTo>
                      <a:pt x="297" y="1104"/>
                    </a:lnTo>
                    <a:lnTo>
                      <a:pt x="295" y="1100"/>
                    </a:lnTo>
                    <a:lnTo>
                      <a:pt x="293" y="1095"/>
                    </a:lnTo>
                    <a:lnTo>
                      <a:pt x="292" y="1088"/>
                    </a:lnTo>
                    <a:lnTo>
                      <a:pt x="293" y="1082"/>
                    </a:lnTo>
                    <a:lnTo>
                      <a:pt x="294" y="1075"/>
                    </a:lnTo>
                    <a:lnTo>
                      <a:pt x="295" y="1068"/>
                    </a:lnTo>
                    <a:lnTo>
                      <a:pt x="298" y="1060"/>
                    </a:lnTo>
                    <a:lnTo>
                      <a:pt x="291" y="1049"/>
                    </a:lnTo>
                    <a:lnTo>
                      <a:pt x="283" y="1039"/>
                    </a:lnTo>
                    <a:lnTo>
                      <a:pt x="274" y="1029"/>
                    </a:lnTo>
                    <a:lnTo>
                      <a:pt x="265" y="1021"/>
                    </a:lnTo>
                    <a:lnTo>
                      <a:pt x="248" y="1005"/>
                    </a:lnTo>
                    <a:lnTo>
                      <a:pt x="230" y="990"/>
                    </a:lnTo>
                    <a:lnTo>
                      <a:pt x="222" y="983"/>
                    </a:lnTo>
                    <a:lnTo>
                      <a:pt x="216" y="974"/>
                    </a:lnTo>
                    <a:lnTo>
                      <a:pt x="209" y="966"/>
                    </a:lnTo>
                    <a:lnTo>
                      <a:pt x="204" y="957"/>
                    </a:lnTo>
                    <a:lnTo>
                      <a:pt x="198" y="947"/>
                    </a:lnTo>
                    <a:lnTo>
                      <a:pt x="195" y="937"/>
                    </a:lnTo>
                    <a:lnTo>
                      <a:pt x="193" y="925"/>
                    </a:lnTo>
                    <a:lnTo>
                      <a:pt x="193" y="911"/>
                    </a:lnTo>
                    <a:lnTo>
                      <a:pt x="180" y="911"/>
                    </a:lnTo>
                    <a:lnTo>
                      <a:pt x="169" y="909"/>
                    </a:lnTo>
                    <a:lnTo>
                      <a:pt x="160" y="907"/>
                    </a:lnTo>
                    <a:lnTo>
                      <a:pt x="152" y="903"/>
                    </a:lnTo>
                    <a:lnTo>
                      <a:pt x="146" y="898"/>
                    </a:lnTo>
                    <a:lnTo>
                      <a:pt x="140" y="893"/>
                    </a:lnTo>
                    <a:lnTo>
                      <a:pt x="136" y="887"/>
                    </a:lnTo>
                    <a:lnTo>
                      <a:pt x="131" y="880"/>
                    </a:lnTo>
                    <a:lnTo>
                      <a:pt x="120" y="846"/>
                    </a:lnTo>
                    <a:lnTo>
                      <a:pt x="106" y="806"/>
                    </a:lnTo>
                    <a:lnTo>
                      <a:pt x="105" y="801"/>
                    </a:lnTo>
                    <a:lnTo>
                      <a:pt x="103" y="796"/>
                    </a:lnTo>
                    <a:lnTo>
                      <a:pt x="99" y="792"/>
                    </a:lnTo>
                    <a:lnTo>
                      <a:pt x="97" y="788"/>
                    </a:lnTo>
                    <a:lnTo>
                      <a:pt x="90" y="780"/>
                    </a:lnTo>
                    <a:lnTo>
                      <a:pt x="83" y="774"/>
                    </a:lnTo>
                    <a:lnTo>
                      <a:pt x="75" y="768"/>
                    </a:lnTo>
                    <a:lnTo>
                      <a:pt x="69" y="761"/>
                    </a:lnTo>
                    <a:lnTo>
                      <a:pt x="65" y="758"/>
                    </a:lnTo>
                    <a:lnTo>
                      <a:pt x="63" y="753"/>
                    </a:lnTo>
                    <a:lnTo>
                      <a:pt x="61" y="749"/>
                    </a:lnTo>
                    <a:lnTo>
                      <a:pt x="60" y="745"/>
                    </a:lnTo>
                    <a:lnTo>
                      <a:pt x="46" y="711"/>
                    </a:lnTo>
                    <a:lnTo>
                      <a:pt x="33" y="676"/>
                    </a:lnTo>
                    <a:lnTo>
                      <a:pt x="25" y="659"/>
                    </a:lnTo>
                    <a:lnTo>
                      <a:pt x="17" y="643"/>
                    </a:lnTo>
                    <a:lnTo>
                      <a:pt x="9" y="628"/>
                    </a:lnTo>
                    <a:lnTo>
                      <a:pt x="0" y="616"/>
                    </a:lnTo>
                    <a:lnTo>
                      <a:pt x="4" y="611"/>
                    </a:lnTo>
                    <a:lnTo>
                      <a:pt x="8" y="607"/>
                    </a:lnTo>
                    <a:lnTo>
                      <a:pt x="11" y="602"/>
                    </a:lnTo>
                    <a:lnTo>
                      <a:pt x="13" y="598"/>
                    </a:lnTo>
                    <a:lnTo>
                      <a:pt x="16" y="587"/>
                    </a:lnTo>
                    <a:lnTo>
                      <a:pt x="18" y="577"/>
                    </a:lnTo>
                    <a:lnTo>
                      <a:pt x="19" y="567"/>
                    </a:lnTo>
                    <a:lnTo>
                      <a:pt x="20" y="555"/>
                    </a:lnTo>
                    <a:lnTo>
                      <a:pt x="23" y="543"/>
                    </a:lnTo>
                    <a:lnTo>
                      <a:pt x="26" y="529"/>
                    </a:lnTo>
                    <a:lnTo>
                      <a:pt x="29" y="521"/>
                    </a:lnTo>
                    <a:lnTo>
                      <a:pt x="33" y="514"/>
                    </a:lnTo>
                    <a:lnTo>
                      <a:pt x="37" y="507"/>
                    </a:lnTo>
                    <a:lnTo>
                      <a:pt x="41" y="500"/>
                    </a:lnTo>
                    <a:lnTo>
                      <a:pt x="52" y="487"/>
                    </a:lnTo>
                    <a:lnTo>
                      <a:pt x="64" y="474"/>
                    </a:lnTo>
                    <a:lnTo>
                      <a:pt x="78" y="464"/>
                    </a:lnTo>
                    <a:lnTo>
                      <a:pt x="90" y="456"/>
                    </a:lnTo>
                    <a:lnTo>
                      <a:pt x="102" y="449"/>
                    </a:lnTo>
                    <a:lnTo>
                      <a:pt x="113" y="443"/>
                    </a:lnTo>
                    <a:lnTo>
                      <a:pt x="113" y="222"/>
                    </a:lnTo>
                    <a:lnTo>
                      <a:pt x="113" y="212"/>
                    </a:lnTo>
                    <a:lnTo>
                      <a:pt x="113" y="200"/>
                    </a:lnTo>
                    <a:lnTo>
                      <a:pt x="113" y="188"/>
                    </a:lnTo>
                    <a:lnTo>
                      <a:pt x="113" y="178"/>
                    </a:lnTo>
                    <a:lnTo>
                      <a:pt x="123" y="179"/>
                    </a:lnTo>
                    <a:lnTo>
                      <a:pt x="131" y="179"/>
                    </a:lnTo>
                    <a:lnTo>
                      <a:pt x="139" y="178"/>
                    </a:lnTo>
                    <a:lnTo>
                      <a:pt x="146" y="176"/>
                    </a:lnTo>
                    <a:lnTo>
                      <a:pt x="150" y="174"/>
                    </a:lnTo>
                    <a:lnTo>
                      <a:pt x="153" y="171"/>
                    </a:lnTo>
                    <a:lnTo>
                      <a:pt x="157" y="167"/>
                    </a:lnTo>
                    <a:lnTo>
                      <a:pt x="159" y="162"/>
                    </a:lnTo>
                    <a:lnTo>
                      <a:pt x="160" y="152"/>
                    </a:lnTo>
                    <a:lnTo>
                      <a:pt x="160" y="137"/>
                    </a:lnTo>
                    <a:lnTo>
                      <a:pt x="160" y="122"/>
                    </a:lnTo>
                    <a:lnTo>
                      <a:pt x="159" y="105"/>
                    </a:lnTo>
                    <a:lnTo>
                      <a:pt x="159" y="93"/>
                    </a:lnTo>
                    <a:lnTo>
                      <a:pt x="159" y="83"/>
                    </a:lnTo>
                    <a:lnTo>
                      <a:pt x="159" y="76"/>
                    </a:lnTo>
                    <a:lnTo>
                      <a:pt x="159" y="67"/>
                    </a:lnTo>
                    <a:lnTo>
                      <a:pt x="664" y="73"/>
                    </a:lnTo>
                    <a:lnTo>
                      <a:pt x="668" y="74"/>
                    </a:lnTo>
                    <a:lnTo>
                      <a:pt x="672" y="73"/>
                    </a:lnTo>
                    <a:lnTo>
                      <a:pt x="676" y="72"/>
                    </a:lnTo>
                    <a:lnTo>
                      <a:pt x="679" y="69"/>
                    </a:lnTo>
                    <a:lnTo>
                      <a:pt x="688" y="63"/>
                    </a:lnTo>
                    <a:lnTo>
                      <a:pt x="695" y="54"/>
                    </a:lnTo>
                    <a:lnTo>
                      <a:pt x="707" y="38"/>
                    </a:lnTo>
                    <a:lnTo>
                      <a:pt x="711" y="30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48" name="Freeform 434"/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929140" y="3647369"/>
                <a:ext cx="267191" cy="282388"/>
              </a:xfrm>
              <a:custGeom>
                <a:avLst/>
                <a:gdLst/>
                <a:ahLst/>
                <a:cxnLst>
                  <a:cxn ang="0">
                    <a:pos x="265" y="10"/>
                  </a:cxn>
                  <a:cxn ang="0">
                    <a:pos x="276" y="37"/>
                  </a:cxn>
                  <a:cxn ang="0">
                    <a:pos x="286" y="91"/>
                  </a:cxn>
                  <a:cxn ang="0">
                    <a:pos x="292" y="144"/>
                  </a:cxn>
                  <a:cxn ang="0">
                    <a:pos x="291" y="161"/>
                  </a:cxn>
                  <a:cxn ang="0">
                    <a:pos x="286" y="179"/>
                  </a:cxn>
                  <a:cxn ang="0">
                    <a:pos x="269" y="206"/>
                  </a:cxn>
                  <a:cxn ang="0">
                    <a:pos x="231" y="185"/>
                  </a:cxn>
                  <a:cxn ang="0">
                    <a:pos x="165" y="258"/>
                  </a:cxn>
                  <a:cxn ang="0">
                    <a:pos x="132" y="278"/>
                  </a:cxn>
                  <a:cxn ang="0">
                    <a:pos x="59" y="296"/>
                  </a:cxn>
                  <a:cxn ang="0">
                    <a:pos x="32" y="308"/>
                  </a:cxn>
                  <a:cxn ang="0">
                    <a:pos x="6" y="308"/>
                  </a:cxn>
                  <a:cxn ang="0">
                    <a:pos x="9" y="297"/>
                  </a:cxn>
                  <a:cxn ang="0">
                    <a:pos x="11" y="286"/>
                  </a:cxn>
                  <a:cxn ang="0">
                    <a:pos x="7" y="265"/>
                  </a:cxn>
                  <a:cxn ang="0">
                    <a:pos x="2" y="246"/>
                  </a:cxn>
                  <a:cxn ang="0">
                    <a:pos x="0" y="228"/>
                  </a:cxn>
                  <a:cxn ang="0">
                    <a:pos x="3" y="205"/>
                  </a:cxn>
                  <a:cxn ang="0">
                    <a:pos x="12" y="188"/>
                  </a:cxn>
                  <a:cxn ang="0">
                    <a:pos x="26" y="174"/>
                  </a:cxn>
                  <a:cxn ang="0">
                    <a:pos x="42" y="161"/>
                  </a:cxn>
                  <a:cxn ang="0">
                    <a:pos x="77" y="135"/>
                  </a:cxn>
                  <a:cxn ang="0">
                    <a:pos x="93" y="119"/>
                  </a:cxn>
                  <a:cxn ang="0">
                    <a:pos x="105" y="98"/>
                  </a:cxn>
                  <a:cxn ang="0">
                    <a:pos x="98" y="96"/>
                  </a:cxn>
                  <a:cxn ang="0">
                    <a:pos x="92" y="91"/>
                  </a:cxn>
                  <a:cxn ang="0">
                    <a:pos x="82" y="73"/>
                  </a:cxn>
                  <a:cxn ang="0">
                    <a:pos x="74" y="50"/>
                  </a:cxn>
                  <a:cxn ang="0">
                    <a:pos x="72" y="24"/>
                  </a:cxn>
                  <a:cxn ang="0">
                    <a:pos x="90" y="19"/>
                  </a:cxn>
                  <a:cxn ang="0">
                    <a:pos x="105" y="20"/>
                  </a:cxn>
                  <a:cxn ang="0">
                    <a:pos x="132" y="24"/>
                  </a:cxn>
                  <a:cxn ang="0">
                    <a:pos x="169" y="21"/>
                  </a:cxn>
                  <a:cxn ang="0">
                    <a:pos x="210" y="12"/>
                  </a:cxn>
                  <a:cxn ang="0">
                    <a:pos x="259" y="0"/>
                  </a:cxn>
                </a:cxnLst>
                <a:rect l="0" t="0" r="r" b="b"/>
                <a:pathLst>
                  <a:path w="292" h="308">
                    <a:moveTo>
                      <a:pt x="259" y="0"/>
                    </a:moveTo>
                    <a:lnTo>
                      <a:pt x="265" y="10"/>
                    </a:lnTo>
                    <a:lnTo>
                      <a:pt x="271" y="23"/>
                    </a:lnTo>
                    <a:lnTo>
                      <a:pt x="276" y="37"/>
                    </a:lnTo>
                    <a:lnTo>
                      <a:pt x="280" y="54"/>
                    </a:lnTo>
                    <a:lnTo>
                      <a:pt x="286" y="91"/>
                    </a:lnTo>
                    <a:lnTo>
                      <a:pt x="292" y="135"/>
                    </a:lnTo>
                    <a:lnTo>
                      <a:pt x="292" y="144"/>
                    </a:lnTo>
                    <a:lnTo>
                      <a:pt x="292" y="153"/>
                    </a:lnTo>
                    <a:lnTo>
                      <a:pt x="291" y="161"/>
                    </a:lnTo>
                    <a:lnTo>
                      <a:pt x="289" y="168"/>
                    </a:lnTo>
                    <a:lnTo>
                      <a:pt x="286" y="179"/>
                    </a:lnTo>
                    <a:lnTo>
                      <a:pt x="281" y="189"/>
                    </a:lnTo>
                    <a:lnTo>
                      <a:pt x="269" y="206"/>
                    </a:lnTo>
                    <a:lnTo>
                      <a:pt x="258" y="225"/>
                    </a:lnTo>
                    <a:lnTo>
                      <a:pt x="231" y="185"/>
                    </a:lnTo>
                    <a:lnTo>
                      <a:pt x="192" y="222"/>
                    </a:lnTo>
                    <a:lnTo>
                      <a:pt x="165" y="258"/>
                    </a:lnTo>
                    <a:lnTo>
                      <a:pt x="152" y="246"/>
                    </a:lnTo>
                    <a:lnTo>
                      <a:pt x="132" y="278"/>
                    </a:lnTo>
                    <a:lnTo>
                      <a:pt x="132" y="296"/>
                    </a:lnTo>
                    <a:lnTo>
                      <a:pt x="59" y="296"/>
                    </a:lnTo>
                    <a:lnTo>
                      <a:pt x="46" y="302"/>
                    </a:lnTo>
                    <a:lnTo>
                      <a:pt x="32" y="308"/>
                    </a:lnTo>
                    <a:lnTo>
                      <a:pt x="19" y="308"/>
                    </a:lnTo>
                    <a:lnTo>
                      <a:pt x="6" y="308"/>
                    </a:lnTo>
                    <a:lnTo>
                      <a:pt x="8" y="302"/>
                    </a:lnTo>
                    <a:lnTo>
                      <a:pt x="9" y="297"/>
                    </a:lnTo>
                    <a:lnTo>
                      <a:pt x="11" y="291"/>
                    </a:lnTo>
                    <a:lnTo>
                      <a:pt x="11" y="286"/>
                    </a:lnTo>
                    <a:lnTo>
                      <a:pt x="9" y="276"/>
                    </a:lnTo>
                    <a:lnTo>
                      <a:pt x="7" y="265"/>
                    </a:lnTo>
                    <a:lnTo>
                      <a:pt x="5" y="256"/>
                    </a:lnTo>
                    <a:lnTo>
                      <a:pt x="2" y="246"/>
                    </a:lnTo>
                    <a:lnTo>
                      <a:pt x="0" y="237"/>
                    </a:lnTo>
                    <a:lnTo>
                      <a:pt x="0" y="228"/>
                    </a:lnTo>
                    <a:lnTo>
                      <a:pt x="0" y="216"/>
                    </a:lnTo>
                    <a:lnTo>
                      <a:pt x="3" y="205"/>
                    </a:lnTo>
                    <a:lnTo>
                      <a:pt x="6" y="196"/>
                    </a:lnTo>
                    <a:lnTo>
                      <a:pt x="12" y="188"/>
                    </a:lnTo>
                    <a:lnTo>
                      <a:pt x="18" y="180"/>
                    </a:lnTo>
                    <a:lnTo>
                      <a:pt x="26" y="174"/>
                    </a:lnTo>
                    <a:lnTo>
                      <a:pt x="34" y="167"/>
                    </a:lnTo>
                    <a:lnTo>
                      <a:pt x="42" y="161"/>
                    </a:lnTo>
                    <a:lnTo>
                      <a:pt x="60" y="148"/>
                    </a:lnTo>
                    <a:lnTo>
                      <a:pt x="77" y="135"/>
                    </a:lnTo>
                    <a:lnTo>
                      <a:pt x="85" y="128"/>
                    </a:lnTo>
                    <a:lnTo>
                      <a:pt x="93" y="119"/>
                    </a:lnTo>
                    <a:lnTo>
                      <a:pt x="99" y="110"/>
                    </a:lnTo>
                    <a:lnTo>
                      <a:pt x="105" y="98"/>
                    </a:lnTo>
                    <a:lnTo>
                      <a:pt x="102" y="98"/>
                    </a:lnTo>
                    <a:lnTo>
                      <a:pt x="98" y="96"/>
                    </a:lnTo>
                    <a:lnTo>
                      <a:pt x="95" y="94"/>
                    </a:lnTo>
                    <a:lnTo>
                      <a:pt x="92" y="91"/>
                    </a:lnTo>
                    <a:lnTo>
                      <a:pt x="86" y="83"/>
                    </a:lnTo>
                    <a:lnTo>
                      <a:pt x="82" y="73"/>
                    </a:lnTo>
                    <a:lnTo>
                      <a:pt x="77" y="62"/>
                    </a:lnTo>
                    <a:lnTo>
                      <a:pt x="74" y="50"/>
                    </a:lnTo>
                    <a:lnTo>
                      <a:pt x="73" y="36"/>
                    </a:lnTo>
                    <a:lnTo>
                      <a:pt x="72" y="24"/>
                    </a:lnTo>
                    <a:lnTo>
                      <a:pt x="82" y="21"/>
                    </a:lnTo>
                    <a:lnTo>
                      <a:pt x="90" y="19"/>
                    </a:lnTo>
                    <a:lnTo>
                      <a:pt x="97" y="19"/>
                    </a:lnTo>
                    <a:lnTo>
                      <a:pt x="105" y="20"/>
                    </a:lnTo>
                    <a:lnTo>
                      <a:pt x="118" y="23"/>
                    </a:lnTo>
                    <a:lnTo>
                      <a:pt x="132" y="24"/>
                    </a:lnTo>
                    <a:lnTo>
                      <a:pt x="149" y="23"/>
                    </a:lnTo>
                    <a:lnTo>
                      <a:pt x="169" y="21"/>
                    </a:lnTo>
                    <a:lnTo>
                      <a:pt x="189" y="17"/>
                    </a:lnTo>
                    <a:lnTo>
                      <a:pt x="210" y="12"/>
                    </a:lnTo>
                    <a:lnTo>
                      <a:pt x="244" y="4"/>
                    </a:lnTo>
                    <a:lnTo>
                      <a:pt x="259" y="0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49" name="Freeform 435"/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5152915" y="3915635"/>
                <a:ext cx="13362" cy="101661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3" y="3"/>
                  </a:cxn>
                  <a:cxn ang="0">
                    <a:pos x="14" y="7"/>
                  </a:cxn>
                  <a:cxn ang="0">
                    <a:pos x="0" y="7"/>
                  </a:cxn>
                  <a:cxn ang="0">
                    <a:pos x="11" y="0"/>
                  </a:cxn>
                </a:cxnLst>
                <a:rect l="0" t="0" r="r" b="b"/>
                <a:pathLst>
                  <a:path w="14" h="7">
                    <a:moveTo>
                      <a:pt x="11" y="0"/>
                    </a:moveTo>
                    <a:lnTo>
                      <a:pt x="13" y="3"/>
                    </a:lnTo>
                    <a:lnTo>
                      <a:pt x="14" y="7"/>
                    </a:lnTo>
                    <a:lnTo>
                      <a:pt x="0" y="7"/>
                    </a:lnTo>
                    <a:lnTo>
                      <a:pt x="11" y="0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50" name="Freeform 436"/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080808" y="2557350"/>
                <a:ext cx="524363" cy="889522"/>
              </a:xfrm>
              <a:custGeom>
                <a:avLst/>
                <a:gdLst/>
                <a:ahLst/>
                <a:cxnLst>
                  <a:cxn ang="0">
                    <a:pos x="81" y="115"/>
                  </a:cxn>
                  <a:cxn ang="0">
                    <a:pos x="104" y="152"/>
                  </a:cxn>
                  <a:cxn ang="0">
                    <a:pos x="111" y="180"/>
                  </a:cxn>
                  <a:cxn ang="0">
                    <a:pos x="95" y="234"/>
                  </a:cxn>
                  <a:cxn ang="0">
                    <a:pos x="96" y="325"/>
                  </a:cxn>
                  <a:cxn ang="0">
                    <a:pos x="93" y="363"/>
                  </a:cxn>
                  <a:cxn ang="0">
                    <a:pos x="82" y="396"/>
                  </a:cxn>
                  <a:cxn ang="0">
                    <a:pos x="59" y="429"/>
                  </a:cxn>
                  <a:cxn ang="0">
                    <a:pos x="31" y="461"/>
                  </a:cxn>
                  <a:cxn ang="0">
                    <a:pos x="17" y="481"/>
                  </a:cxn>
                  <a:cxn ang="0">
                    <a:pos x="2" y="542"/>
                  </a:cxn>
                  <a:cxn ang="0">
                    <a:pos x="69" y="616"/>
                  </a:cxn>
                  <a:cxn ang="0">
                    <a:pos x="69" y="634"/>
                  </a:cxn>
                  <a:cxn ang="0">
                    <a:pos x="74" y="665"/>
                  </a:cxn>
                  <a:cxn ang="0">
                    <a:pos x="74" y="696"/>
                  </a:cxn>
                  <a:cxn ang="0">
                    <a:pos x="78" y="733"/>
                  </a:cxn>
                  <a:cxn ang="0">
                    <a:pos x="94" y="778"/>
                  </a:cxn>
                  <a:cxn ang="0">
                    <a:pos x="105" y="792"/>
                  </a:cxn>
                  <a:cxn ang="0">
                    <a:pos x="68" y="794"/>
                  </a:cxn>
                  <a:cxn ang="0">
                    <a:pos x="42" y="802"/>
                  </a:cxn>
                  <a:cxn ang="0">
                    <a:pos x="36" y="812"/>
                  </a:cxn>
                  <a:cxn ang="0">
                    <a:pos x="42" y="842"/>
                  </a:cxn>
                  <a:cxn ang="0">
                    <a:pos x="69" y="876"/>
                  </a:cxn>
                  <a:cxn ang="0">
                    <a:pos x="87" y="899"/>
                  </a:cxn>
                  <a:cxn ang="0">
                    <a:pos x="100" y="927"/>
                  </a:cxn>
                  <a:cxn ang="0">
                    <a:pos x="156" y="955"/>
                  </a:cxn>
                  <a:cxn ang="0">
                    <a:pos x="189" y="942"/>
                  </a:cxn>
                  <a:cxn ang="0">
                    <a:pos x="248" y="929"/>
                  </a:cxn>
                  <a:cxn ang="0">
                    <a:pos x="279" y="921"/>
                  </a:cxn>
                  <a:cxn ang="0">
                    <a:pos x="297" y="904"/>
                  </a:cxn>
                  <a:cxn ang="0">
                    <a:pos x="302" y="892"/>
                  </a:cxn>
                  <a:cxn ang="0">
                    <a:pos x="302" y="868"/>
                  </a:cxn>
                  <a:cxn ang="0">
                    <a:pos x="338" y="871"/>
                  </a:cxn>
                  <a:cxn ang="0">
                    <a:pos x="367" y="866"/>
                  </a:cxn>
                  <a:cxn ang="0">
                    <a:pos x="389" y="856"/>
                  </a:cxn>
                  <a:cxn ang="0">
                    <a:pos x="405" y="842"/>
                  </a:cxn>
                  <a:cxn ang="0">
                    <a:pos x="432" y="807"/>
                  </a:cxn>
                  <a:cxn ang="0">
                    <a:pos x="460" y="773"/>
                  </a:cxn>
                  <a:cxn ang="0">
                    <a:pos x="477" y="760"/>
                  </a:cxn>
                  <a:cxn ang="0">
                    <a:pos x="502" y="752"/>
                  </a:cxn>
                  <a:cxn ang="0">
                    <a:pos x="521" y="745"/>
                  </a:cxn>
                  <a:cxn ang="0">
                    <a:pos x="499" y="697"/>
                  </a:cxn>
                  <a:cxn ang="0">
                    <a:pos x="484" y="653"/>
                  </a:cxn>
                  <a:cxn ang="0">
                    <a:pos x="472" y="623"/>
                  </a:cxn>
                  <a:cxn ang="0">
                    <a:pos x="481" y="610"/>
                  </a:cxn>
                  <a:cxn ang="0">
                    <a:pos x="487" y="579"/>
                  </a:cxn>
                  <a:cxn ang="0">
                    <a:pos x="494" y="541"/>
                  </a:cxn>
                  <a:cxn ang="0">
                    <a:pos x="505" y="519"/>
                  </a:cxn>
                  <a:cxn ang="0">
                    <a:pos x="532" y="486"/>
                  </a:cxn>
                  <a:cxn ang="0">
                    <a:pos x="570" y="461"/>
                  </a:cxn>
                  <a:cxn ang="0">
                    <a:pos x="129" y="0"/>
                  </a:cxn>
                  <a:cxn ang="0">
                    <a:pos x="98" y="5"/>
                  </a:cxn>
                  <a:cxn ang="0">
                    <a:pos x="69" y="24"/>
                  </a:cxn>
                </a:cxnLst>
                <a:rect l="0" t="0" r="r" b="b"/>
                <a:pathLst>
                  <a:path w="581" h="955">
                    <a:moveTo>
                      <a:pt x="69" y="24"/>
                    </a:moveTo>
                    <a:lnTo>
                      <a:pt x="69" y="97"/>
                    </a:lnTo>
                    <a:lnTo>
                      <a:pt x="81" y="115"/>
                    </a:lnTo>
                    <a:lnTo>
                      <a:pt x="91" y="129"/>
                    </a:lnTo>
                    <a:lnTo>
                      <a:pt x="99" y="141"/>
                    </a:lnTo>
                    <a:lnTo>
                      <a:pt x="104" y="152"/>
                    </a:lnTo>
                    <a:lnTo>
                      <a:pt x="107" y="163"/>
                    </a:lnTo>
                    <a:lnTo>
                      <a:pt x="110" y="172"/>
                    </a:lnTo>
                    <a:lnTo>
                      <a:pt x="111" y="180"/>
                    </a:lnTo>
                    <a:lnTo>
                      <a:pt x="110" y="186"/>
                    </a:lnTo>
                    <a:lnTo>
                      <a:pt x="102" y="209"/>
                    </a:lnTo>
                    <a:lnTo>
                      <a:pt x="95" y="234"/>
                    </a:lnTo>
                    <a:lnTo>
                      <a:pt x="96" y="276"/>
                    </a:lnTo>
                    <a:lnTo>
                      <a:pt x="96" y="309"/>
                    </a:lnTo>
                    <a:lnTo>
                      <a:pt x="96" y="325"/>
                    </a:lnTo>
                    <a:lnTo>
                      <a:pt x="96" y="339"/>
                    </a:lnTo>
                    <a:lnTo>
                      <a:pt x="95" y="351"/>
                    </a:lnTo>
                    <a:lnTo>
                      <a:pt x="93" y="363"/>
                    </a:lnTo>
                    <a:lnTo>
                      <a:pt x="91" y="374"/>
                    </a:lnTo>
                    <a:lnTo>
                      <a:pt x="87" y="386"/>
                    </a:lnTo>
                    <a:lnTo>
                      <a:pt x="82" y="396"/>
                    </a:lnTo>
                    <a:lnTo>
                      <a:pt x="76" y="407"/>
                    </a:lnTo>
                    <a:lnTo>
                      <a:pt x="69" y="418"/>
                    </a:lnTo>
                    <a:lnTo>
                      <a:pt x="59" y="429"/>
                    </a:lnTo>
                    <a:lnTo>
                      <a:pt x="48" y="442"/>
                    </a:lnTo>
                    <a:lnTo>
                      <a:pt x="36" y="455"/>
                    </a:lnTo>
                    <a:lnTo>
                      <a:pt x="31" y="461"/>
                    </a:lnTo>
                    <a:lnTo>
                      <a:pt x="26" y="467"/>
                    </a:lnTo>
                    <a:lnTo>
                      <a:pt x="22" y="474"/>
                    </a:lnTo>
                    <a:lnTo>
                      <a:pt x="17" y="481"/>
                    </a:lnTo>
                    <a:lnTo>
                      <a:pt x="12" y="496"/>
                    </a:lnTo>
                    <a:lnTo>
                      <a:pt x="8" y="512"/>
                    </a:lnTo>
                    <a:lnTo>
                      <a:pt x="2" y="542"/>
                    </a:lnTo>
                    <a:lnTo>
                      <a:pt x="0" y="568"/>
                    </a:lnTo>
                    <a:lnTo>
                      <a:pt x="29" y="578"/>
                    </a:lnTo>
                    <a:lnTo>
                      <a:pt x="69" y="616"/>
                    </a:lnTo>
                    <a:lnTo>
                      <a:pt x="51" y="632"/>
                    </a:lnTo>
                    <a:lnTo>
                      <a:pt x="60" y="633"/>
                    </a:lnTo>
                    <a:lnTo>
                      <a:pt x="69" y="634"/>
                    </a:lnTo>
                    <a:lnTo>
                      <a:pt x="70" y="643"/>
                    </a:lnTo>
                    <a:lnTo>
                      <a:pt x="72" y="653"/>
                    </a:lnTo>
                    <a:lnTo>
                      <a:pt x="74" y="665"/>
                    </a:lnTo>
                    <a:lnTo>
                      <a:pt x="76" y="677"/>
                    </a:lnTo>
                    <a:lnTo>
                      <a:pt x="74" y="686"/>
                    </a:lnTo>
                    <a:lnTo>
                      <a:pt x="74" y="696"/>
                    </a:lnTo>
                    <a:lnTo>
                      <a:pt x="74" y="705"/>
                    </a:lnTo>
                    <a:lnTo>
                      <a:pt x="76" y="715"/>
                    </a:lnTo>
                    <a:lnTo>
                      <a:pt x="78" y="733"/>
                    </a:lnTo>
                    <a:lnTo>
                      <a:pt x="82" y="749"/>
                    </a:lnTo>
                    <a:lnTo>
                      <a:pt x="88" y="764"/>
                    </a:lnTo>
                    <a:lnTo>
                      <a:pt x="94" y="778"/>
                    </a:lnTo>
                    <a:lnTo>
                      <a:pt x="98" y="783"/>
                    </a:lnTo>
                    <a:lnTo>
                      <a:pt x="102" y="788"/>
                    </a:lnTo>
                    <a:lnTo>
                      <a:pt x="105" y="792"/>
                    </a:lnTo>
                    <a:lnTo>
                      <a:pt x="109" y="794"/>
                    </a:lnTo>
                    <a:lnTo>
                      <a:pt x="92" y="794"/>
                    </a:lnTo>
                    <a:lnTo>
                      <a:pt x="68" y="794"/>
                    </a:lnTo>
                    <a:lnTo>
                      <a:pt x="56" y="796"/>
                    </a:lnTo>
                    <a:lnTo>
                      <a:pt x="46" y="799"/>
                    </a:lnTo>
                    <a:lnTo>
                      <a:pt x="42" y="802"/>
                    </a:lnTo>
                    <a:lnTo>
                      <a:pt x="38" y="805"/>
                    </a:lnTo>
                    <a:lnTo>
                      <a:pt x="36" y="808"/>
                    </a:lnTo>
                    <a:lnTo>
                      <a:pt x="36" y="812"/>
                    </a:lnTo>
                    <a:lnTo>
                      <a:pt x="36" y="824"/>
                    </a:lnTo>
                    <a:lnTo>
                      <a:pt x="38" y="834"/>
                    </a:lnTo>
                    <a:lnTo>
                      <a:pt x="42" y="842"/>
                    </a:lnTo>
                    <a:lnTo>
                      <a:pt x="46" y="850"/>
                    </a:lnTo>
                    <a:lnTo>
                      <a:pt x="57" y="863"/>
                    </a:lnTo>
                    <a:lnTo>
                      <a:pt x="69" y="876"/>
                    </a:lnTo>
                    <a:lnTo>
                      <a:pt x="76" y="884"/>
                    </a:lnTo>
                    <a:lnTo>
                      <a:pt x="81" y="891"/>
                    </a:lnTo>
                    <a:lnTo>
                      <a:pt x="87" y="899"/>
                    </a:lnTo>
                    <a:lnTo>
                      <a:pt x="92" y="907"/>
                    </a:lnTo>
                    <a:lnTo>
                      <a:pt x="96" y="917"/>
                    </a:lnTo>
                    <a:lnTo>
                      <a:pt x="100" y="927"/>
                    </a:lnTo>
                    <a:lnTo>
                      <a:pt x="102" y="941"/>
                    </a:lnTo>
                    <a:lnTo>
                      <a:pt x="102" y="955"/>
                    </a:lnTo>
                    <a:lnTo>
                      <a:pt x="156" y="955"/>
                    </a:lnTo>
                    <a:lnTo>
                      <a:pt x="166" y="949"/>
                    </a:lnTo>
                    <a:lnTo>
                      <a:pt x="177" y="945"/>
                    </a:lnTo>
                    <a:lnTo>
                      <a:pt x="189" y="942"/>
                    </a:lnTo>
                    <a:lnTo>
                      <a:pt x="201" y="939"/>
                    </a:lnTo>
                    <a:lnTo>
                      <a:pt x="225" y="935"/>
                    </a:lnTo>
                    <a:lnTo>
                      <a:pt x="248" y="929"/>
                    </a:lnTo>
                    <a:lnTo>
                      <a:pt x="259" y="927"/>
                    </a:lnTo>
                    <a:lnTo>
                      <a:pt x="270" y="924"/>
                    </a:lnTo>
                    <a:lnTo>
                      <a:pt x="279" y="921"/>
                    </a:lnTo>
                    <a:lnTo>
                      <a:pt x="286" y="916"/>
                    </a:lnTo>
                    <a:lnTo>
                      <a:pt x="293" y="911"/>
                    </a:lnTo>
                    <a:lnTo>
                      <a:pt x="297" y="904"/>
                    </a:lnTo>
                    <a:lnTo>
                      <a:pt x="300" y="901"/>
                    </a:lnTo>
                    <a:lnTo>
                      <a:pt x="301" y="896"/>
                    </a:lnTo>
                    <a:lnTo>
                      <a:pt x="302" y="892"/>
                    </a:lnTo>
                    <a:lnTo>
                      <a:pt x="302" y="887"/>
                    </a:lnTo>
                    <a:lnTo>
                      <a:pt x="302" y="877"/>
                    </a:lnTo>
                    <a:lnTo>
                      <a:pt x="302" y="868"/>
                    </a:lnTo>
                    <a:lnTo>
                      <a:pt x="315" y="870"/>
                    </a:lnTo>
                    <a:lnTo>
                      <a:pt x="327" y="871"/>
                    </a:lnTo>
                    <a:lnTo>
                      <a:pt x="338" y="871"/>
                    </a:lnTo>
                    <a:lnTo>
                      <a:pt x="348" y="870"/>
                    </a:lnTo>
                    <a:lnTo>
                      <a:pt x="358" y="868"/>
                    </a:lnTo>
                    <a:lnTo>
                      <a:pt x="367" y="866"/>
                    </a:lnTo>
                    <a:lnTo>
                      <a:pt x="374" y="863"/>
                    </a:lnTo>
                    <a:lnTo>
                      <a:pt x="382" y="860"/>
                    </a:lnTo>
                    <a:lnTo>
                      <a:pt x="389" y="856"/>
                    </a:lnTo>
                    <a:lnTo>
                      <a:pt x="394" y="852"/>
                    </a:lnTo>
                    <a:lnTo>
                      <a:pt x="401" y="847"/>
                    </a:lnTo>
                    <a:lnTo>
                      <a:pt x="405" y="842"/>
                    </a:lnTo>
                    <a:lnTo>
                      <a:pt x="415" y="831"/>
                    </a:lnTo>
                    <a:lnTo>
                      <a:pt x="424" y="818"/>
                    </a:lnTo>
                    <a:lnTo>
                      <a:pt x="432" y="807"/>
                    </a:lnTo>
                    <a:lnTo>
                      <a:pt x="440" y="795"/>
                    </a:lnTo>
                    <a:lnTo>
                      <a:pt x="449" y="783"/>
                    </a:lnTo>
                    <a:lnTo>
                      <a:pt x="460" y="773"/>
                    </a:lnTo>
                    <a:lnTo>
                      <a:pt x="465" y="769"/>
                    </a:lnTo>
                    <a:lnTo>
                      <a:pt x="471" y="764"/>
                    </a:lnTo>
                    <a:lnTo>
                      <a:pt x="477" y="760"/>
                    </a:lnTo>
                    <a:lnTo>
                      <a:pt x="485" y="757"/>
                    </a:lnTo>
                    <a:lnTo>
                      <a:pt x="493" y="754"/>
                    </a:lnTo>
                    <a:lnTo>
                      <a:pt x="502" y="752"/>
                    </a:lnTo>
                    <a:lnTo>
                      <a:pt x="510" y="751"/>
                    </a:lnTo>
                    <a:lnTo>
                      <a:pt x="521" y="751"/>
                    </a:lnTo>
                    <a:lnTo>
                      <a:pt x="521" y="745"/>
                    </a:lnTo>
                    <a:lnTo>
                      <a:pt x="511" y="729"/>
                    </a:lnTo>
                    <a:lnTo>
                      <a:pt x="505" y="713"/>
                    </a:lnTo>
                    <a:lnTo>
                      <a:pt x="499" y="697"/>
                    </a:lnTo>
                    <a:lnTo>
                      <a:pt x="494" y="682"/>
                    </a:lnTo>
                    <a:lnTo>
                      <a:pt x="490" y="667"/>
                    </a:lnTo>
                    <a:lnTo>
                      <a:pt x="484" y="653"/>
                    </a:lnTo>
                    <a:lnTo>
                      <a:pt x="476" y="640"/>
                    </a:lnTo>
                    <a:lnTo>
                      <a:pt x="468" y="628"/>
                    </a:lnTo>
                    <a:lnTo>
                      <a:pt x="472" y="623"/>
                    </a:lnTo>
                    <a:lnTo>
                      <a:pt x="476" y="619"/>
                    </a:lnTo>
                    <a:lnTo>
                      <a:pt x="479" y="614"/>
                    </a:lnTo>
                    <a:lnTo>
                      <a:pt x="481" y="610"/>
                    </a:lnTo>
                    <a:lnTo>
                      <a:pt x="484" y="599"/>
                    </a:lnTo>
                    <a:lnTo>
                      <a:pt x="486" y="589"/>
                    </a:lnTo>
                    <a:lnTo>
                      <a:pt x="487" y="579"/>
                    </a:lnTo>
                    <a:lnTo>
                      <a:pt x="488" y="567"/>
                    </a:lnTo>
                    <a:lnTo>
                      <a:pt x="491" y="555"/>
                    </a:lnTo>
                    <a:lnTo>
                      <a:pt x="494" y="541"/>
                    </a:lnTo>
                    <a:lnTo>
                      <a:pt x="497" y="533"/>
                    </a:lnTo>
                    <a:lnTo>
                      <a:pt x="501" y="526"/>
                    </a:lnTo>
                    <a:lnTo>
                      <a:pt x="505" y="519"/>
                    </a:lnTo>
                    <a:lnTo>
                      <a:pt x="509" y="512"/>
                    </a:lnTo>
                    <a:lnTo>
                      <a:pt x="520" y="499"/>
                    </a:lnTo>
                    <a:lnTo>
                      <a:pt x="532" y="486"/>
                    </a:lnTo>
                    <a:lnTo>
                      <a:pt x="546" y="476"/>
                    </a:lnTo>
                    <a:lnTo>
                      <a:pt x="558" y="468"/>
                    </a:lnTo>
                    <a:lnTo>
                      <a:pt x="570" y="461"/>
                    </a:lnTo>
                    <a:lnTo>
                      <a:pt x="581" y="455"/>
                    </a:lnTo>
                    <a:lnTo>
                      <a:pt x="581" y="234"/>
                    </a:lnTo>
                    <a:lnTo>
                      <a:pt x="129" y="0"/>
                    </a:lnTo>
                    <a:lnTo>
                      <a:pt x="116" y="1"/>
                    </a:lnTo>
                    <a:lnTo>
                      <a:pt x="106" y="3"/>
                    </a:lnTo>
                    <a:lnTo>
                      <a:pt x="98" y="5"/>
                    </a:lnTo>
                    <a:lnTo>
                      <a:pt x="89" y="6"/>
                    </a:lnTo>
                    <a:lnTo>
                      <a:pt x="79" y="15"/>
                    </a:lnTo>
                    <a:lnTo>
                      <a:pt x="69" y="24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51" name="Freeform 447"/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3078836" y="3023288"/>
                <a:ext cx="374068" cy="293685"/>
              </a:xfrm>
              <a:custGeom>
                <a:avLst/>
                <a:gdLst/>
                <a:ahLst/>
                <a:cxnLst>
                  <a:cxn ang="0">
                    <a:pos x="6" y="260"/>
                  </a:cxn>
                  <a:cxn ang="0">
                    <a:pos x="13" y="237"/>
                  </a:cxn>
                  <a:cxn ang="0">
                    <a:pos x="17" y="202"/>
                  </a:cxn>
                  <a:cxn ang="0">
                    <a:pos x="23" y="173"/>
                  </a:cxn>
                  <a:cxn ang="0">
                    <a:pos x="32" y="162"/>
                  </a:cxn>
                  <a:cxn ang="0">
                    <a:pos x="48" y="150"/>
                  </a:cxn>
                  <a:cxn ang="0">
                    <a:pos x="72" y="141"/>
                  </a:cxn>
                  <a:cxn ang="0">
                    <a:pos x="93" y="134"/>
                  </a:cxn>
                  <a:cxn ang="0">
                    <a:pos x="104" y="125"/>
                  </a:cxn>
                  <a:cxn ang="0">
                    <a:pos x="113" y="114"/>
                  </a:cxn>
                  <a:cxn ang="0">
                    <a:pos x="123" y="93"/>
                  </a:cxn>
                  <a:cxn ang="0">
                    <a:pos x="136" y="69"/>
                  </a:cxn>
                  <a:cxn ang="0">
                    <a:pos x="147" y="55"/>
                  </a:cxn>
                  <a:cxn ang="0">
                    <a:pos x="155" y="51"/>
                  </a:cxn>
                  <a:cxn ang="0">
                    <a:pos x="170" y="51"/>
                  </a:cxn>
                  <a:cxn ang="0">
                    <a:pos x="189" y="48"/>
                  </a:cxn>
                  <a:cxn ang="0">
                    <a:pos x="213" y="35"/>
                  </a:cxn>
                  <a:cxn ang="0">
                    <a:pos x="237" y="20"/>
                  </a:cxn>
                  <a:cxn ang="0">
                    <a:pos x="257" y="11"/>
                  </a:cxn>
                  <a:cxn ang="0">
                    <a:pos x="282" y="4"/>
                  </a:cxn>
                  <a:cxn ang="0">
                    <a:pos x="314" y="0"/>
                  </a:cxn>
                  <a:cxn ang="0">
                    <a:pos x="332" y="14"/>
                  </a:cxn>
                  <a:cxn ang="0">
                    <a:pos x="337" y="34"/>
                  </a:cxn>
                  <a:cxn ang="0">
                    <a:pos x="343" y="50"/>
                  </a:cxn>
                  <a:cxn ang="0">
                    <a:pos x="352" y="62"/>
                  </a:cxn>
                  <a:cxn ang="0">
                    <a:pos x="368" y="74"/>
                  </a:cxn>
                  <a:cxn ang="0">
                    <a:pos x="382" y="85"/>
                  </a:cxn>
                  <a:cxn ang="0">
                    <a:pos x="390" y="93"/>
                  </a:cxn>
                  <a:cxn ang="0">
                    <a:pos x="396" y="115"/>
                  </a:cxn>
                  <a:cxn ang="0">
                    <a:pos x="398" y="143"/>
                  </a:cxn>
                  <a:cxn ang="0">
                    <a:pos x="398" y="170"/>
                  </a:cxn>
                  <a:cxn ang="0">
                    <a:pos x="402" y="196"/>
                  </a:cxn>
                  <a:cxn ang="0">
                    <a:pos x="398" y="217"/>
                  </a:cxn>
                  <a:cxn ang="0">
                    <a:pos x="382" y="226"/>
                  </a:cxn>
                  <a:cxn ang="0">
                    <a:pos x="365" y="241"/>
                  </a:cxn>
                  <a:cxn ang="0">
                    <a:pos x="363" y="237"/>
                  </a:cxn>
                  <a:cxn ang="0">
                    <a:pos x="358" y="233"/>
                  </a:cxn>
                  <a:cxn ang="0">
                    <a:pos x="342" y="227"/>
                  </a:cxn>
                  <a:cxn ang="0">
                    <a:pos x="319" y="223"/>
                  </a:cxn>
                  <a:cxn ang="0">
                    <a:pos x="152" y="241"/>
                  </a:cxn>
                  <a:cxn ang="0">
                    <a:pos x="150" y="257"/>
                  </a:cxn>
                  <a:cxn ang="0">
                    <a:pos x="150" y="274"/>
                  </a:cxn>
                  <a:cxn ang="0">
                    <a:pos x="152" y="314"/>
                  </a:cxn>
                  <a:cxn ang="0">
                    <a:pos x="139" y="312"/>
                  </a:cxn>
                  <a:cxn ang="0">
                    <a:pos x="126" y="305"/>
                  </a:cxn>
                  <a:cxn ang="0">
                    <a:pos x="100" y="290"/>
                  </a:cxn>
                  <a:cxn ang="0">
                    <a:pos x="89" y="307"/>
                  </a:cxn>
                  <a:cxn ang="0">
                    <a:pos x="82" y="312"/>
                  </a:cxn>
                  <a:cxn ang="0">
                    <a:pos x="73" y="314"/>
                  </a:cxn>
                  <a:cxn ang="0">
                    <a:pos x="60" y="311"/>
                  </a:cxn>
                  <a:cxn ang="0">
                    <a:pos x="47" y="302"/>
                  </a:cxn>
                  <a:cxn ang="0">
                    <a:pos x="28" y="291"/>
                  </a:cxn>
                  <a:cxn ang="0">
                    <a:pos x="0" y="284"/>
                  </a:cxn>
                </a:cxnLst>
                <a:rect l="0" t="0" r="r" b="b"/>
                <a:pathLst>
                  <a:path w="405" h="314">
                    <a:moveTo>
                      <a:pt x="0" y="272"/>
                    </a:moveTo>
                    <a:lnTo>
                      <a:pt x="6" y="260"/>
                    </a:lnTo>
                    <a:lnTo>
                      <a:pt x="11" y="248"/>
                    </a:lnTo>
                    <a:lnTo>
                      <a:pt x="13" y="237"/>
                    </a:lnTo>
                    <a:lnTo>
                      <a:pt x="15" y="226"/>
                    </a:lnTo>
                    <a:lnTo>
                      <a:pt x="17" y="202"/>
                    </a:lnTo>
                    <a:lnTo>
                      <a:pt x="20" y="179"/>
                    </a:lnTo>
                    <a:lnTo>
                      <a:pt x="23" y="173"/>
                    </a:lnTo>
                    <a:lnTo>
                      <a:pt x="26" y="167"/>
                    </a:lnTo>
                    <a:lnTo>
                      <a:pt x="32" y="162"/>
                    </a:lnTo>
                    <a:lnTo>
                      <a:pt x="36" y="158"/>
                    </a:lnTo>
                    <a:lnTo>
                      <a:pt x="48" y="150"/>
                    </a:lnTo>
                    <a:lnTo>
                      <a:pt x="60" y="145"/>
                    </a:lnTo>
                    <a:lnTo>
                      <a:pt x="72" y="141"/>
                    </a:lnTo>
                    <a:lnTo>
                      <a:pt x="83" y="137"/>
                    </a:lnTo>
                    <a:lnTo>
                      <a:pt x="93" y="134"/>
                    </a:lnTo>
                    <a:lnTo>
                      <a:pt x="100" y="130"/>
                    </a:lnTo>
                    <a:lnTo>
                      <a:pt x="104" y="125"/>
                    </a:lnTo>
                    <a:lnTo>
                      <a:pt x="109" y="120"/>
                    </a:lnTo>
                    <a:lnTo>
                      <a:pt x="113" y="114"/>
                    </a:lnTo>
                    <a:lnTo>
                      <a:pt x="116" y="107"/>
                    </a:lnTo>
                    <a:lnTo>
                      <a:pt x="123" y="93"/>
                    </a:lnTo>
                    <a:lnTo>
                      <a:pt x="129" y="81"/>
                    </a:lnTo>
                    <a:lnTo>
                      <a:pt x="136" y="69"/>
                    </a:lnTo>
                    <a:lnTo>
                      <a:pt x="143" y="59"/>
                    </a:lnTo>
                    <a:lnTo>
                      <a:pt x="147" y="55"/>
                    </a:lnTo>
                    <a:lnTo>
                      <a:pt x="150" y="53"/>
                    </a:lnTo>
                    <a:lnTo>
                      <a:pt x="155" y="51"/>
                    </a:lnTo>
                    <a:lnTo>
                      <a:pt x="159" y="50"/>
                    </a:lnTo>
                    <a:lnTo>
                      <a:pt x="170" y="51"/>
                    </a:lnTo>
                    <a:lnTo>
                      <a:pt x="180" y="50"/>
                    </a:lnTo>
                    <a:lnTo>
                      <a:pt x="189" y="48"/>
                    </a:lnTo>
                    <a:lnTo>
                      <a:pt x="196" y="44"/>
                    </a:lnTo>
                    <a:lnTo>
                      <a:pt x="213" y="35"/>
                    </a:lnTo>
                    <a:lnTo>
                      <a:pt x="228" y="25"/>
                    </a:lnTo>
                    <a:lnTo>
                      <a:pt x="237" y="20"/>
                    </a:lnTo>
                    <a:lnTo>
                      <a:pt x="247" y="15"/>
                    </a:lnTo>
                    <a:lnTo>
                      <a:pt x="257" y="11"/>
                    </a:lnTo>
                    <a:lnTo>
                      <a:pt x="269" y="7"/>
                    </a:lnTo>
                    <a:lnTo>
                      <a:pt x="282" y="4"/>
                    </a:lnTo>
                    <a:lnTo>
                      <a:pt x="296" y="1"/>
                    </a:lnTo>
                    <a:lnTo>
                      <a:pt x="314" y="0"/>
                    </a:lnTo>
                    <a:lnTo>
                      <a:pt x="332" y="1"/>
                    </a:lnTo>
                    <a:lnTo>
                      <a:pt x="332" y="14"/>
                    </a:lnTo>
                    <a:lnTo>
                      <a:pt x="335" y="25"/>
                    </a:lnTo>
                    <a:lnTo>
                      <a:pt x="337" y="34"/>
                    </a:lnTo>
                    <a:lnTo>
                      <a:pt x="340" y="43"/>
                    </a:lnTo>
                    <a:lnTo>
                      <a:pt x="343" y="50"/>
                    </a:lnTo>
                    <a:lnTo>
                      <a:pt x="348" y="56"/>
                    </a:lnTo>
                    <a:lnTo>
                      <a:pt x="352" y="62"/>
                    </a:lnTo>
                    <a:lnTo>
                      <a:pt x="357" y="66"/>
                    </a:lnTo>
                    <a:lnTo>
                      <a:pt x="368" y="74"/>
                    </a:lnTo>
                    <a:lnTo>
                      <a:pt x="378" y="81"/>
                    </a:lnTo>
                    <a:lnTo>
                      <a:pt x="382" y="85"/>
                    </a:lnTo>
                    <a:lnTo>
                      <a:pt x="385" y="89"/>
                    </a:lnTo>
                    <a:lnTo>
                      <a:pt x="390" y="93"/>
                    </a:lnTo>
                    <a:lnTo>
                      <a:pt x="392" y="100"/>
                    </a:lnTo>
                    <a:lnTo>
                      <a:pt x="396" y="115"/>
                    </a:lnTo>
                    <a:lnTo>
                      <a:pt x="398" y="129"/>
                    </a:lnTo>
                    <a:lnTo>
                      <a:pt x="398" y="143"/>
                    </a:lnTo>
                    <a:lnTo>
                      <a:pt x="398" y="157"/>
                    </a:lnTo>
                    <a:lnTo>
                      <a:pt x="398" y="170"/>
                    </a:lnTo>
                    <a:lnTo>
                      <a:pt x="399" y="183"/>
                    </a:lnTo>
                    <a:lnTo>
                      <a:pt x="402" y="196"/>
                    </a:lnTo>
                    <a:lnTo>
                      <a:pt x="405" y="211"/>
                    </a:lnTo>
                    <a:lnTo>
                      <a:pt x="398" y="217"/>
                    </a:lnTo>
                    <a:lnTo>
                      <a:pt x="390" y="221"/>
                    </a:lnTo>
                    <a:lnTo>
                      <a:pt x="382" y="226"/>
                    </a:lnTo>
                    <a:lnTo>
                      <a:pt x="374" y="233"/>
                    </a:lnTo>
                    <a:lnTo>
                      <a:pt x="365" y="241"/>
                    </a:lnTo>
                    <a:lnTo>
                      <a:pt x="365" y="239"/>
                    </a:lnTo>
                    <a:lnTo>
                      <a:pt x="363" y="237"/>
                    </a:lnTo>
                    <a:lnTo>
                      <a:pt x="361" y="235"/>
                    </a:lnTo>
                    <a:lnTo>
                      <a:pt x="358" y="233"/>
                    </a:lnTo>
                    <a:lnTo>
                      <a:pt x="351" y="230"/>
                    </a:lnTo>
                    <a:lnTo>
                      <a:pt x="342" y="227"/>
                    </a:lnTo>
                    <a:lnTo>
                      <a:pt x="326" y="224"/>
                    </a:lnTo>
                    <a:lnTo>
                      <a:pt x="319" y="223"/>
                    </a:lnTo>
                    <a:lnTo>
                      <a:pt x="300" y="241"/>
                    </a:lnTo>
                    <a:lnTo>
                      <a:pt x="152" y="241"/>
                    </a:lnTo>
                    <a:lnTo>
                      <a:pt x="151" y="249"/>
                    </a:lnTo>
                    <a:lnTo>
                      <a:pt x="150" y="257"/>
                    </a:lnTo>
                    <a:lnTo>
                      <a:pt x="150" y="266"/>
                    </a:lnTo>
                    <a:lnTo>
                      <a:pt x="150" y="274"/>
                    </a:lnTo>
                    <a:lnTo>
                      <a:pt x="152" y="291"/>
                    </a:lnTo>
                    <a:lnTo>
                      <a:pt x="152" y="314"/>
                    </a:lnTo>
                    <a:lnTo>
                      <a:pt x="146" y="314"/>
                    </a:lnTo>
                    <a:lnTo>
                      <a:pt x="139" y="312"/>
                    </a:lnTo>
                    <a:lnTo>
                      <a:pt x="133" y="308"/>
                    </a:lnTo>
                    <a:lnTo>
                      <a:pt x="126" y="305"/>
                    </a:lnTo>
                    <a:lnTo>
                      <a:pt x="114" y="297"/>
                    </a:lnTo>
                    <a:lnTo>
                      <a:pt x="100" y="290"/>
                    </a:lnTo>
                    <a:lnTo>
                      <a:pt x="94" y="299"/>
                    </a:lnTo>
                    <a:lnTo>
                      <a:pt x="89" y="307"/>
                    </a:lnTo>
                    <a:lnTo>
                      <a:pt x="85" y="310"/>
                    </a:lnTo>
                    <a:lnTo>
                      <a:pt x="82" y="312"/>
                    </a:lnTo>
                    <a:lnTo>
                      <a:pt x="78" y="314"/>
                    </a:lnTo>
                    <a:lnTo>
                      <a:pt x="73" y="314"/>
                    </a:lnTo>
                    <a:lnTo>
                      <a:pt x="66" y="313"/>
                    </a:lnTo>
                    <a:lnTo>
                      <a:pt x="60" y="311"/>
                    </a:lnTo>
                    <a:lnTo>
                      <a:pt x="54" y="306"/>
                    </a:lnTo>
                    <a:lnTo>
                      <a:pt x="47" y="302"/>
                    </a:lnTo>
                    <a:lnTo>
                      <a:pt x="38" y="296"/>
                    </a:lnTo>
                    <a:lnTo>
                      <a:pt x="28" y="291"/>
                    </a:lnTo>
                    <a:lnTo>
                      <a:pt x="16" y="287"/>
                    </a:lnTo>
                    <a:lnTo>
                      <a:pt x="0" y="284"/>
                    </a:lnTo>
                    <a:lnTo>
                      <a:pt x="0" y="272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52" name="Freeform 448"/>
              <p:cNvSpPr>
                <a:spLocks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3810277" y="3144715"/>
                <a:ext cx="407469" cy="621254"/>
              </a:xfrm>
              <a:custGeom>
                <a:avLst/>
                <a:gdLst/>
                <a:ahLst/>
                <a:cxnLst>
                  <a:cxn ang="0">
                    <a:pos x="335" y="36"/>
                  </a:cxn>
                  <a:cxn ang="0">
                    <a:pos x="321" y="98"/>
                  </a:cxn>
                  <a:cxn ang="0">
                    <a:pos x="277" y="162"/>
                  </a:cxn>
                  <a:cxn ang="0">
                    <a:pos x="253" y="219"/>
                  </a:cxn>
                  <a:cxn ang="0">
                    <a:pos x="232" y="272"/>
                  </a:cxn>
                  <a:cxn ang="0">
                    <a:pos x="209" y="329"/>
                  </a:cxn>
                  <a:cxn ang="0">
                    <a:pos x="196" y="362"/>
                  </a:cxn>
                  <a:cxn ang="0">
                    <a:pos x="180" y="380"/>
                  </a:cxn>
                  <a:cxn ang="0">
                    <a:pos x="167" y="390"/>
                  </a:cxn>
                  <a:cxn ang="0">
                    <a:pos x="141" y="382"/>
                  </a:cxn>
                  <a:cxn ang="0">
                    <a:pos x="121" y="370"/>
                  </a:cxn>
                  <a:cxn ang="0">
                    <a:pos x="94" y="367"/>
                  </a:cxn>
                  <a:cxn ang="0">
                    <a:pos x="64" y="380"/>
                  </a:cxn>
                  <a:cxn ang="0">
                    <a:pos x="44" y="403"/>
                  </a:cxn>
                  <a:cxn ang="0">
                    <a:pos x="21" y="454"/>
                  </a:cxn>
                  <a:cxn ang="0">
                    <a:pos x="7" y="482"/>
                  </a:cxn>
                  <a:cxn ang="0">
                    <a:pos x="1" y="500"/>
                  </a:cxn>
                  <a:cxn ang="0">
                    <a:pos x="8" y="517"/>
                  </a:cxn>
                  <a:cxn ang="0">
                    <a:pos x="20" y="526"/>
                  </a:cxn>
                  <a:cxn ang="0">
                    <a:pos x="55" y="526"/>
                  </a:cxn>
                  <a:cxn ang="0">
                    <a:pos x="71" y="548"/>
                  </a:cxn>
                  <a:cxn ang="0">
                    <a:pos x="73" y="590"/>
                  </a:cxn>
                  <a:cxn ang="0">
                    <a:pos x="67" y="630"/>
                  </a:cxn>
                  <a:cxn ang="0">
                    <a:pos x="433" y="661"/>
                  </a:cxn>
                  <a:cxn ang="0">
                    <a:pos x="442" y="582"/>
                  </a:cxn>
                  <a:cxn ang="0">
                    <a:pos x="415" y="568"/>
                  </a:cxn>
                  <a:cxn ang="0">
                    <a:pos x="373" y="557"/>
                  </a:cxn>
                  <a:cxn ang="0">
                    <a:pos x="353" y="549"/>
                  </a:cxn>
                  <a:cxn ang="0">
                    <a:pos x="340" y="537"/>
                  </a:cxn>
                  <a:cxn ang="0">
                    <a:pos x="333" y="515"/>
                  </a:cxn>
                  <a:cxn ang="0">
                    <a:pos x="333" y="464"/>
                  </a:cxn>
                  <a:cxn ang="0">
                    <a:pos x="337" y="428"/>
                  </a:cxn>
                  <a:cxn ang="0">
                    <a:pos x="351" y="397"/>
                  </a:cxn>
                  <a:cxn ang="0">
                    <a:pos x="373" y="364"/>
                  </a:cxn>
                  <a:cxn ang="0">
                    <a:pos x="392" y="330"/>
                  </a:cxn>
                  <a:cxn ang="0">
                    <a:pos x="399" y="297"/>
                  </a:cxn>
                  <a:cxn ang="0">
                    <a:pos x="389" y="267"/>
                  </a:cxn>
                  <a:cxn ang="0">
                    <a:pos x="373" y="246"/>
                  </a:cxn>
                  <a:cxn ang="0">
                    <a:pos x="343" y="217"/>
                  </a:cxn>
                  <a:cxn ang="0">
                    <a:pos x="333" y="192"/>
                  </a:cxn>
                  <a:cxn ang="0">
                    <a:pos x="335" y="173"/>
                  </a:cxn>
                  <a:cxn ang="0">
                    <a:pos x="353" y="164"/>
                  </a:cxn>
                  <a:cxn ang="0">
                    <a:pos x="406" y="162"/>
                  </a:cxn>
                  <a:cxn ang="0">
                    <a:pos x="395" y="151"/>
                  </a:cxn>
                  <a:cxn ang="0">
                    <a:pos x="379" y="117"/>
                  </a:cxn>
                  <a:cxn ang="0">
                    <a:pos x="371" y="73"/>
                  </a:cxn>
                  <a:cxn ang="0">
                    <a:pos x="373" y="45"/>
                  </a:cxn>
                  <a:cxn ang="0">
                    <a:pos x="367" y="11"/>
                  </a:cxn>
                  <a:cxn ang="0">
                    <a:pos x="347" y="0"/>
                  </a:cxn>
                </a:cxnLst>
                <a:rect l="0" t="0" r="r" b="b"/>
                <a:pathLst>
                  <a:path w="453" h="661">
                    <a:moveTo>
                      <a:pt x="330" y="9"/>
                    </a:moveTo>
                    <a:lnTo>
                      <a:pt x="332" y="23"/>
                    </a:lnTo>
                    <a:lnTo>
                      <a:pt x="335" y="36"/>
                    </a:lnTo>
                    <a:lnTo>
                      <a:pt x="340" y="50"/>
                    </a:lnTo>
                    <a:lnTo>
                      <a:pt x="346" y="63"/>
                    </a:lnTo>
                    <a:lnTo>
                      <a:pt x="321" y="98"/>
                    </a:lnTo>
                    <a:lnTo>
                      <a:pt x="298" y="129"/>
                    </a:lnTo>
                    <a:lnTo>
                      <a:pt x="287" y="145"/>
                    </a:lnTo>
                    <a:lnTo>
                      <a:pt x="277" y="162"/>
                    </a:lnTo>
                    <a:lnTo>
                      <a:pt x="268" y="179"/>
                    </a:lnTo>
                    <a:lnTo>
                      <a:pt x="259" y="200"/>
                    </a:lnTo>
                    <a:lnTo>
                      <a:pt x="253" y="219"/>
                    </a:lnTo>
                    <a:lnTo>
                      <a:pt x="245" y="237"/>
                    </a:lnTo>
                    <a:lnTo>
                      <a:pt x="239" y="255"/>
                    </a:lnTo>
                    <a:lnTo>
                      <a:pt x="232" y="272"/>
                    </a:lnTo>
                    <a:lnTo>
                      <a:pt x="225" y="289"/>
                    </a:lnTo>
                    <a:lnTo>
                      <a:pt x="218" y="309"/>
                    </a:lnTo>
                    <a:lnTo>
                      <a:pt x="209" y="329"/>
                    </a:lnTo>
                    <a:lnTo>
                      <a:pt x="200" y="353"/>
                    </a:lnTo>
                    <a:lnTo>
                      <a:pt x="199" y="356"/>
                    </a:lnTo>
                    <a:lnTo>
                      <a:pt x="196" y="362"/>
                    </a:lnTo>
                    <a:lnTo>
                      <a:pt x="191" y="368"/>
                    </a:lnTo>
                    <a:lnTo>
                      <a:pt x="186" y="374"/>
                    </a:lnTo>
                    <a:lnTo>
                      <a:pt x="180" y="380"/>
                    </a:lnTo>
                    <a:lnTo>
                      <a:pt x="175" y="385"/>
                    </a:lnTo>
                    <a:lnTo>
                      <a:pt x="171" y="389"/>
                    </a:lnTo>
                    <a:lnTo>
                      <a:pt x="167" y="390"/>
                    </a:lnTo>
                    <a:lnTo>
                      <a:pt x="157" y="389"/>
                    </a:lnTo>
                    <a:lnTo>
                      <a:pt x="149" y="386"/>
                    </a:lnTo>
                    <a:lnTo>
                      <a:pt x="141" y="382"/>
                    </a:lnTo>
                    <a:lnTo>
                      <a:pt x="134" y="378"/>
                    </a:lnTo>
                    <a:lnTo>
                      <a:pt x="128" y="374"/>
                    </a:lnTo>
                    <a:lnTo>
                      <a:pt x="121" y="370"/>
                    </a:lnTo>
                    <a:lnTo>
                      <a:pt x="115" y="367"/>
                    </a:lnTo>
                    <a:lnTo>
                      <a:pt x="107" y="366"/>
                    </a:lnTo>
                    <a:lnTo>
                      <a:pt x="94" y="367"/>
                    </a:lnTo>
                    <a:lnTo>
                      <a:pt x="83" y="370"/>
                    </a:lnTo>
                    <a:lnTo>
                      <a:pt x="73" y="374"/>
                    </a:lnTo>
                    <a:lnTo>
                      <a:pt x="64" y="380"/>
                    </a:lnTo>
                    <a:lnTo>
                      <a:pt x="56" y="387"/>
                    </a:lnTo>
                    <a:lnTo>
                      <a:pt x="50" y="395"/>
                    </a:lnTo>
                    <a:lnTo>
                      <a:pt x="44" y="403"/>
                    </a:lnTo>
                    <a:lnTo>
                      <a:pt x="39" y="413"/>
                    </a:lnTo>
                    <a:lnTo>
                      <a:pt x="30" y="434"/>
                    </a:lnTo>
                    <a:lnTo>
                      <a:pt x="21" y="454"/>
                    </a:lnTo>
                    <a:lnTo>
                      <a:pt x="17" y="463"/>
                    </a:lnTo>
                    <a:lnTo>
                      <a:pt x="11" y="473"/>
                    </a:lnTo>
                    <a:lnTo>
                      <a:pt x="7" y="482"/>
                    </a:lnTo>
                    <a:lnTo>
                      <a:pt x="0" y="489"/>
                    </a:lnTo>
                    <a:lnTo>
                      <a:pt x="1" y="494"/>
                    </a:lnTo>
                    <a:lnTo>
                      <a:pt x="1" y="500"/>
                    </a:lnTo>
                    <a:lnTo>
                      <a:pt x="4" y="506"/>
                    </a:lnTo>
                    <a:lnTo>
                      <a:pt x="6" y="512"/>
                    </a:lnTo>
                    <a:lnTo>
                      <a:pt x="8" y="517"/>
                    </a:lnTo>
                    <a:lnTo>
                      <a:pt x="11" y="521"/>
                    </a:lnTo>
                    <a:lnTo>
                      <a:pt x="16" y="524"/>
                    </a:lnTo>
                    <a:lnTo>
                      <a:pt x="20" y="526"/>
                    </a:lnTo>
                    <a:lnTo>
                      <a:pt x="28" y="526"/>
                    </a:lnTo>
                    <a:lnTo>
                      <a:pt x="40" y="526"/>
                    </a:lnTo>
                    <a:lnTo>
                      <a:pt x="55" y="526"/>
                    </a:lnTo>
                    <a:lnTo>
                      <a:pt x="74" y="526"/>
                    </a:lnTo>
                    <a:lnTo>
                      <a:pt x="72" y="537"/>
                    </a:lnTo>
                    <a:lnTo>
                      <a:pt x="71" y="548"/>
                    </a:lnTo>
                    <a:lnTo>
                      <a:pt x="71" y="558"/>
                    </a:lnTo>
                    <a:lnTo>
                      <a:pt x="72" y="569"/>
                    </a:lnTo>
                    <a:lnTo>
                      <a:pt x="73" y="590"/>
                    </a:lnTo>
                    <a:lnTo>
                      <a:pt x="74" y="612"/>
                    </a:lnTo>
                    <a:lnTo>
                      <a:pt x="71" y="621"/>
                    </a:lnTo>
                    <a:lnTo>
                      <a:pt x="67" y="630"/>
                    </a:lnTo>
                    <a:lnTo>
                      <a:pt x="167" y="630"/>
                    </a:lnTo>
                    <a:lnTo>
                      <a:pt x="273" y="630"/>
                    </a:lnTo>
                    <a:lnTo>
                      <a:pt x="433" y="661"/>
                    </a:lnTo>
                    <a:lnTo>
                      <a:pt x="453" y="594"/>
                    </a:lnTo>
                    <a:lnTo>
                      <a:pt x="447" y="588"/>
                    </a:lnTo>
                    <a:lnTo>
                      <a:pt x="442" y="582"/>
                    </a:lnTo>
                    <a:lnTo>
                      <a:pt x="435" y="577"/>
                    </a:lnTo>
                    <a:lnTo>
                      <a:pt x="430" y="573"/>
                    </a:lnTo>
                    <a:lnTo>
                      <a:pt x="415" y="568"/>
                    </a:lnTo>
                    <a:lnTo>
                      <a:pt x="402" y="564"/>
                    </a:lnTo>
                    <a:lnTo>
                      <a:pt x="387" y="561"/>
                    </a:lnTo>
                    <a:lnTo>
                      <a:pt x="373" y="557"/>
                    </a:lnTo>
                    <a:lnTo>
                      <a:pt x="366" y="555"/>
                    </a:lnTo>
                    <a:lnTo>
                      <a:pt x="359" y="552"/>
                    </a:lnTo>
                    <a:lnTo>
                      <a:pt x="353" y="549"/>
                    </a:lnTo>
                    <a:lnTo>
                      <a:pt x="346" y="544"/>
                    </a:lnTo>
                    <a:lnTo>
                      <a:pt x="343" y="541"/>
                    </a:lnTo>
                    <a:lnTo>
                      <a:pt x="340" y="537"/>
                    </a:lnTo>
                    <a:lnTo>
                      <a:pt x="337" y="532"/>
                    </a:lnTo>
                    <a:lnTo>
                      <a:pt x="335" y="527"/>
                    </a:lnTo>
                    <a:lnTo>
                      <a:pt x="333" y="515"/>
                    </a:lnTo>
                    <a:lnTo>
                      <a:pt x="332" y="504"/>
                    </a:lnTo>
                    <a:lnTo>
                      <a:pt x="332" y="482"/>
                    </a:lnTo>
                    <a:lnTo>
                      <a:pt x="333" y="464"/>
                    </a:lnTo>
                    <a:lnTo>
                      <a:pt x="333" y="451"/>
                    </a:lnTo>
                    <a:lnTo>
                      <a:pt x="335" y="439"/>
                    </a:lnTo>
                    <a:lnTo>
                      <a:pt x="337" y="428"/>
                    </a:lnTo>
                    <a:lnTo>
                      <a:pt x="342" y="417"/>
                    </a:lnTo>
                    <a:lnTo>
                      <a:pt x="345" y="406"/>
                    </a:lnTo>
                    <a:lnTo>
                      <a:pt x="351" y="397"/>
                    </a:lnTo>
                    <a:lnTo>
                      <a:pt x="355" y="389"/>
                    </a:lnTo>
                    <a:lnTo>
                      <a:pt x="362" y="380"/>
                    </a:lnTo>
                    <a:lnTo>
                      <a:pt x="373" y="364"/>
                    </a:lnTo>
                    <a:lnTo>
                      <a:pt x="384" y="347"/>
                    </a:lnTo>
                    <a:lnTo>
                      <a:pt x="388" y="338"/>
                    </a:lnTo>
                    <a:lnTo>
                      <a:pt x="392" y="330"/>
                    </a:lnTo>
                    <a:lnTo>
                      <a:pt x="397" y="320"/>
                    </a:lnTo>
                    <a:lnTo>
                      <a:pt x="399" y="310"/>
                    </a:lnTo>
                    <a:lnTo>
                      <a:pt x="399" y="297"/>
                    </a:lnTo>
                    <a:lnTo>
                      <a:pt x="397" y="286"/>
                    </a:lnTo>
                    <a:lnTo>
                      <a:pt x="393" y="276"/>
                    </a:lnTo>
                    <a:lnTo>
                      <a:pt x="389" y="267"/>
                    </a:lnTo>
                    <a:lnTo>
                      <a:pt x="384" y="260"/>
                    </a:lnTo>
                    <a:lnTo>
                      <a:pt x="378" y="253"/>
                    </a:lnTo>
                    <a:lnTo>
                      <a:pt x="373" y="246"/>
                    </a:lnTo>
                    <a:lnTo>
                      <a:pt x="366" y="240"/>
                    </a:lnTo>
                    <a:lnTo>
                      <a:pt x="354" y="229"/>
                    </a:lnTo>
                    <a:lnTo>
                      <a:pt x="343" y="217"/>
                    </a:lnTo>
                    <a:lnTo>
                      <a:pt x="339" y="209"/>
                    </a:lnTo>
                    <a:lnTo>
                      <a:pt x="335" y="201"/>
                    </a:lnTo>
                    <a:lnTo>
                      <a:pt x="333" y="192"/>
                    </a:lnTo>
                    <a:lnTo>
                      <a:pt x="333" y="180"/>
                    </a:lnTo>
                    <a:lnTo>
                      <a:pt x="333" y="176"/>
                    </a:lnTo>
                    <a:lnTo>
                      <a:pt x="335" y="173"/>
                    </a:lnTo>
                    <a:lnTo>
                      <a:pt x="339" y="170"/>
                    </a:lnTo>
                    <a:lnTo>
                      <a:pt x="343" y="167"/>
                    </a:lnTo>
                    <a:lnTo>
                      <a:pt x="353" y="164"/>
                    </a:lnTo>
                    <a:lnTo>
                      <a:pt x="365" y="162"/>
                    </a:lnTo>
                    <a:lnTo>
                      <a:pt x="389" y="162"/>
                    </a:lnTo>
                    <a:lnTo>
                      <a:pt x="406" y="162"/>
                    </a:lnTo>
                    <a:lnTo>
                      <a:pt x="402" y="160"/>
                    </a:lnTo>
                    <a:lnTo>
                      <a:pt x="399" y="156"/>
                    </a:lnTo>
                    <a:lnTo>
                      <a:pt x="395" y="151"/>
                    </a:lnTo>
                    <a:lnTo>
                      <a:pt x="391" y="146"/>
                    </a:lnTo>
                    <a:lnTo>
                      <a:pt x="385" y="132"/>
                    </a:lnTo>
                    <a:lnTo>
                      <a:pt x="379" y="117"/>
                    </a:lnTo>
                    <a:lnTo>
                      <a:pt x="375" y="101"/>
                    </a:lnTo>
                    <a:lnTo>
                      <a:pt x="373" y="83"/>
                    </a:lnTo>
                    <a:lnTo>
                      <a:pt x="371" y="73"/>
                    </a:lnTo>
                    <a:lnTo>
                      <a:pt x="371" y="64"/>
                    </a:lnTo>
                    <a:lnTo>
                      <a:pt x="371" y="54"/>
                    </a:lnTo>
                    <a:lnTo>
                      <a:pt x="373" y="45"/>
                    </a:lnTo>
                    <a:lnTo>
                      <a:pt x="371" y="33"/>
                    </a:lnTo>
                    <a:lnTo>
                      <a:pt x="369" y="21"/>
                    </a:lnTo>
                    <a:lnTo>
                      <a:pt x="367" y="11"/>
                    </a:lnTo>
                    <a:lnTo>
                      <a:pt x="366" y="2"/>
                    </a:lnTo>
                    <a:lnTo>
                      <a:pt x="357" y="1"/>
                    </a:lnTo>
                    <a:lnTo>
                      <a:pt x="347" y="0"/>
                    </a:lnTo>
                    <a:lnTo>
                      <a:pt x="346" y="2"/>
                    </a:lnTo>
                    <a:lnTo>
                      <a:pt x="330" y="9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53" name="Freeform 451"/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3933855" y="3661486"/>
                <a:ext cx="394108" cy="488532"/>
              </a:xfrm>
              <a:custGeom>
                <a:avLst/>
                <a:gdLst/>
                <a:ahLst/>
                <a:cxnLst>
                  <a:cxn ang="0">
                    <a:pos x="429" y="22"/>
                  </a:cxn>
                  <a:cxn ang="0">
                    <a:pos x="428" y="43"/>
                  </a:cxn>
                  <a:cxn ang="0">
                    <a:pos x="424" y="54"/>
                  </a:cxn>
                  <a:cxn ang="0">
                    <a:pos x="415" y="67"/>
                  </a:cxn>
                  <a:cxn ang="0">
                    <a:pos x="413" y="81"/>
                  </a:cxn>
                  <a:cxn ang="0">
                    <a:pos x="414" y="160"/>
                  </a:cxn>
                  <a:cxn ang="0">
                    <a:pos x="408" y="207"/>
                  </a:cxn>
                  <a:cxn ang="0">
                    <a:pos x="396" y="241"/>
                  </a:cxn>
                  <a:cxn ang="0">
                    <a:pos x="372" y="278"/>
                  </a:cxn>
                  <a:cxn ang="0">
                    <a:pos x="338" y="309"/>
                  </a:cxn>
                  <a:cxn ang="0">
                    <a:pos x="319" y="333"/>
                  </a:cxn>
                  <a:cxn ang="0">
                    <a:pos x="312" y="412"/>
                  </a:cxn>
                  <a:cxn ang="0">
                    <a:pos x="304" y="439"/>
                  </a:cxn>
                  <a:cxn ang="0">
                    <a:pos x="290" y="448"/>
                  </a:cxn>
                  <a:cxn ang="0">
                    <a:pos x="269" y="455"/>
                  </a:cxn>
                  <a:cxn ang="0">
                    <a:pos x="253" y="472"/>
                  </a:cxn>
                  <a:cxn ang="0">
                    <a:pos x="234" y="500"/>
                  </a:cxn>
                  <a:cxn ang="0">
                    <a:pos x="223" y="505"/>
                  </a:cxn>
                  <a:cxn ang="0">
                    <a:pos x="201" y="504"/>
                  </a:cxn>
                  <a:cxn ang="0">
                    <a:pos x="189" y="498"/>
                  </a:cxn>
                  <a:cxn ang="0">
                    <a:pos x="145" y="500"/>
                  </a:cxn>
                  <a:cxn ang="0">
                    <a:pos x="123" y="500"/>
                  </a:cxn>
                  <a:cxn ang="0">
                    <a:pos x="113" y="494"/>
                  </a:cxn>
                  <a:cxn ang="0">
                    <a:pos x="95" y="493"/>
                  </a:cxn>
                  <a:cxn ang="0">
                    <a:pos x="78" y="502"/>
                  </a:cxn>
                  <a:cxn ang="0">
                    <a:pos x="62" y="519"/>
                  </a:cxn>
                  <a:cxn ang="0">
                    <a:pos x="27" y="491"/>
                  </a:cxn>
                  <a:cxn ang="0">
                    <a:pos x="6" y="447"/>
                  </a:cxn>
                  <a:cxn ang="0">
                    <a:pos x="25" y="430"/>
                  </a:cxn>
                  <a:cxn ang="0">
                    <a:pos x="42" y="424"/>
                  </a:cxn>
                  <a:cxn ang="0">
                    <a:pos x="61" y="428"/>
                  </a:cxn>
                  <a:cxn ang="0">
                    <a:pos x="58" y="418"/>
                  </a:cxn>
                  <a:cxn ang="0">
                    <a:pos x="45" y="386"/>
                  </a:cxn>
                  <a:cxn ang="0">
                    <a:pos x="47" y="366"/>
                  </a:cxn>
                  <a:cxn ang="0">
                    <a:pos x="57" y="356"/>
                  </a:cxn>
                  <a:cxn ang="0">
                    <a:pos x="71" y="352"/>
                  </a:cxn>
                  <a:cxn ang="0">
                    <a:pos x="89" y="337"/>
                  </a:cxn>
                  <a:cxn ang="0">
                    <a:pos x="104" y="333"/>
                  </a:cxn>
                  <a:cxn ang="0">
                    <a:pos x="115" y="342"/>
                  </a:cxn>
                  <a:cxn ang="0">
                    <a:pos x="135" y="359"/>
                  </a:cxn>
                  <a:cxn ang="0">
                    <a:pos x="154" y="351"/>
                  </a:cxn>
                  <a:cxn ang="0">
                    <a:pos x="181" y="353"/>
                  </a:cxn>
                  <a:cxn ang="0">
                    <a:pos x="199" y="340"/>
                  </a:cxn>
                  <a:cxn ang="0">
                    <a:pos x="210" y="315"/>
                  </a:cxn>
                  <a:cxn ang="0">
                    <a:pos x="213" y="290"/>
                  </a:cxn>
                  <a:cxn ang="0">
                    <a:pos x="215" y="269"/>
                  </a:cxn>
                  <a:cxn ang="0">
                    <a:pos x="201" y="236"/>
                  </a:cxn>
                  <a:cxn ang="0">
                    <a:pos x="188" y="203"/>
                  </a:cxn>
                  <a:cxn ang="0">
                    <a:pos x="207" y="177"/>
                  </a:cxn>
                  <a:cxn ang="0">
                    <a:pos x="210" y="164"/>
                  </a:cxn>
                  <a:cxn ang="0">
                    <a:pos x="200" y="155"/>
                  </a:cxn>
                  <a:cxn ang="0">
                    <a:pos x="197" y="137"/>
                  </a:cxn>
                  <a:cxn ang="0">
                    <a:pos x="188" y="129"/>
                  </a:cxn>
                  <a:cxn ang="0">
                    <a:pos x="161" y="132"/>
                  </a:cxn>
                  <a:cxn ang="0">
                    <a:pos x="137" y="131"/>
                  </a:cxn>
                  <a:cxn ang="0">
                    <a:pos x="125" y="119"/>
                  </a:cxn>
                  <a:cxn ang="0">
                    <a:pos x="123" y="103"/>
                  </a:cxn>
                  <a:cxn ang="0">
                    <a:pos x="132" y="76"/>
                  </a:cxn>
                  <a:cxn ang="0">
                    <a:pos x="306" y="38"/>
                  </a:cxn>
                  <a:cxn ang="0">
                    <a:pos x="323" y="17"/>
                  </a:cxn>
                  <a:cxn ang="0">
                    <a:pos x="343" y="7"/>
                  </a:cxn>
                  <a:cxn ang="0">
                    <a:pos x="374" y="5"/>
                  </a:cxn>
                  <a:cxn ang="0">
                    <a:pos x="408" y="4"/>
                  </a:cxn>
                </a:cxnLst>
                <a:rect l="0" t="0" r="r" b="b"/>
                <a:pathLst>
                  <a:path w="429" h="524">
                    <a:moveTo>
                      <a:pt x="426" y="0"/>
                    </a:moveTo>
                    <a:lnTo>
                      <a:pt x="427" y="12"/>
                    </a:lnTo>
                    <a:lnTo>
                      <a:pt x="429" y="22"/>
                    </a:lnTo>
                    <a:lnTo>
                      <a:pt x="429" y="31"/>
                    </a:lnTo>
                    <a:lnTo>
                      <a:pt x="429" y="38"/>
                    </a:lnTo>
                    <a:lnTo>
                      <a:pt x="428" y="43"/>
                    </a:lnTo>
                    <a:lnTo>
                      <a:pt x="427" y="48"/>
                    </a:lnTo>
                    <a:lnTo>
                      <a:pt x="426" y="51"/>
                    </a:lnTo>
                    <a:lnTo>
                      <a:pt x="424" y="54"/>
                    </a:lnTo>
                    <a:lnTo>
                      <a:pt x="419" y="60"/>
                    </a:lnTo>
                    <a:lnTo>
                      <a:pt x="416" y="64"/>
                    </a:lnTo>
                    <a:lnTo>
                      <a:pt x="415" y="67"/>
                    </a:lnTo>
                    <a:lnTo>
                      <a:pt x="413" y="71"/>
                    </a:lnTo>
                    <a:lnTo>
                      <a:pt x="413" y="75"/>
                    </a:lnTo>
                    <a:lnTo>
                      <a:pt x="413" y="81"/>
                    </a:lnTo>
                    <a:lnTo>
                      <a:pt x="413" y="109"/>
                    </a:lnTo>
                    <a:lnTo>
                      <a:pt x="414" y="135"/>
                    </a:lnTo>
                    <a:lnTo>
                      <a:pt x="414" y="160"/>
                    </a:lnTo>
                    <a:lnTo>
                      <a:pt x="413" y="183"/>
                    </a:lnTo>
                    <a:lnTo>
                      <a:pt x="410" y="196"/>
                    </a:lnTo>
                    <a:lnTo>
                      <a:pt x="408" y="207"/>
                    </a:lnTo>
                    <a:lnTo>
                      <a:pt x="405" y="218"/>
                    </a:lnTo>
                    <a:lnTo>
                      <a:pt x="401" y="229"/>
                    </a:lnTo>
                    <a:lnTo>
                      <a:pt x="396" y="241"/>
                    </a:lnTo>
                    <a:lnTo>
                      <a:pt x="390" y="254"/>
                    </a:lnTo>
                    <a:lnTo>
                      <a:pt x="382" y="266"/>
                    </a:lnTo>
                    <a:lnTo>
                      <a:pt x="372" y="278"/>
                    </a:lnTo>
                    <a:lnTo>
                      <a:pt x="360" y="288"/>
                    </a:lnTo>
                    <a:lnTo>
                      <a:pt x="346" y="300"/>
                    </a:lnTo>
                    <a:lnTo>
                      <a:pt x="338" y="309"/>
                    </a:lnTo>
                    <a:lnTo>
                      <a:pt x="331" y="316"/>
                    </a:lnTo>
                    <a:lnTo>
                      <a:pt x="325" y="324"/>
                    </a:lnTo>
                    <a:lnTo>
                      <a:pt x="319" y="333"/>
                    </a:lnTo>
                    <a:lnTo>
                      <a:pt x="318" y="361"/>
                    </a:lnTo>
                    <a:lnTo>
                      <a:pt x="314" y="395"/>
                    </a:lnTo>
                    <a:lnTo>
                      <a:pt x="312" y="412"/>
                    </a:lnTo>
                    <a:lnTo>
                      <a:pt x="308" y="428"/>
                    </a:lnTo>
                    <a:lnTo>
                      <a:pt x="306" y="434"/>
                    </a:lnTo>
                    <a:lnTo>
                      <a:pt x="304" y="439"/>
                    </a:lnTo>
                    <a:lnTo>
                      <a:pt x="302" y="442"/>
                    </a:lnTo>
                    <a:lnTo>
                      <a:pt x="300" y="444"/>
                    </a:lnTo>
                    <a:lnTo>
                      <a:pt x="290" y="448"/>
                    </a:lnTo>
                    <a:lnTo>
                      <a:pt x="280" y="451"/>
                    </a:lnTo>
                    <a:lnTo>
                      <a:pt x="274" y="453"/>
                    </a:lnTo>
                    <a:lnTo>
                      <a:pt x="269" y="455"/>
                    </a:lnTo>
                    <a:lnTo>
                      <a:pt x="264" y="458"/>
                    </a:lnTo>
                    <a:lnTo>
                      <a:pt x="259" y="462"/>
                    </a:lnTo>
                    <a:lnTo>
                      <a:pt x="253" y="472"/>
                    </a:lnTo>
                    <a:lnTo>
                      <a:pt x="245" y="487"/>
                    </a:lnTo>
                    <a:lnTo>
                      <a:pt x="239" y="494"/>
                    </a:lnTo>
                    <a:lnTo>
                      <a:pt x="234" y="500"/>
                    </a:lnTo>
                    <a:lnTo>
                      <a:pt x="230" y="502"/>
                    </a:lnTo>
                    <a:lnTo>
                      <a:pt x="227" y="504"/>
                    </a:lnTo>
                    <a:lnTo>
                      <a:pt x="223" y="505"/>
                    </a:lnTo>
                    <a:lnTo>
                      <a:pt x="219" y="506"/>
                    </a:lnTo>
                    <a:lnTo>
                      <a:pt x="210" y="505"/>
                    </a:lnTo>
                    <a:lnTo>
                      <a:pt x="201" y="504"/>
                    </a:lnTo>
                    <a:lnTo>
                      <a:pt x="196" y="503"/>
                    </a:lnTo>
                    <a:lnTo>
                      <a:pt x="192" y="501"/>
                    </a:lnTo>
                    <a:lnTo>
                      <a:pt x="189" y="498"/>
                    </a:lnTo>
                    <a:lnTo>
                      <a:pt x="186" y="494"/>
                    </a:lnTo>
                    <a:lnTo>
                      <a:pt x="166" y="496"/>
                    </a:lnTo>
                    <a:lnTo>
                      <a:pt x="145" y="500"/>
                    </a:lnTo>
                    <a:lnTo>
                      <a:pt x="135" y="502"/>
                    </a:lnTo>
                    <a:lnTo>
                      <a:pt x="126" y="501"/>
                    </a:lnTo>
                    <a:lnTo>
                      <a:pt x="123" y="500"/>
                    </a:lnTo>
                    <a:lnTo>
                      <a:pt x="119" y="499"/>
                    </a:lnTo>
                    <a:lnTo>
                      <a:pt x="116" y="497"/>
                    </a:lnTo>
                    <a:lnTo>
                      <a:pt x="113" y="494"/>
                    </a:lnTo>
                    <a:lnTo>
                      <a:pt x="106" y="493"/>
                    </a:lnTo>
                    <a:lnTo>
                      <a:pt x="100" y="493"/>
                    </a:lnTo>
                    <a:lnTo>
                      <a:pt x="95" y="493"/>
                    </a:lnTo>
                    <a:lnTo>
                      <a:pt x="91" y="494"/>
                    </a:lnTo>
                    <a:lnTo>
                      <a:pt x="83" y="497"/>
                    </a:lnTo>
                    <a:lnTo>
                      <a:pt x="78" y="502"/>
                    </a:lnTo>
                    <a:lnTo>
                      <a:pt x="73" y="507"/>
                    </a:lnTo>
                    <a:lnTo>
                      <a:pt x="68" y="513"/>
                    </a:lnTo>
                    <a:lnTo>
                      <a:pt x="62" y="519"/>
                    </a:lnTo>
                    <a:lnTo>
                      <a:pt x="54" y="524"/>
                    </a:lnTo>
                    <a:lnTo>
                      <a:pt x="39" y="507"/>
                    </a:lnTo>
                    <a:lnTo>
                      <a:pt x="27" y="491"/>
                    </a:lnTo>
                    <a:lnTo>
                      <a:pt x="14" y="474"/>
                    </a:lnTo>
                    <a:lnTo>
                      <a:pt x="0" y="456"/>
                    </a:lnTo>
                    <a:lnTo>
                      <a:pt x="6" y="447"/>
                    </a:lnTo>
                    <a:lnTo>
                      <a:pt x="13" y="440"/>
                    </a:lnTo>
                    <a:lnTo>
                      <a:pt x="18" y="434"/>
                    </a:lnTo>
                    <a:lnTo>
                      <a:pt x="25" y="430"/>
                    </a:lnTo>
                    <a:lnTo>
                      <a:pt x="31" y="427"/>
                    </a:lnTo>
                    <a:lnTo>
                      <a:pt x="36" y="425"/>
                    </a:lnTo>
                    <a:lnTo>
                      <a:pt x="42" y="424"/>
                    </a:lnTo>
                    <a:lnTo>
                      <a:pt x="46" y="424"/>
                    </a:lnTo>
                    <a:lnTo>
                      <a:pt x="55" y="425"/>
                    </a:lnTo>
                    <a:lnTo>
                      <a:pt x="61" y="428"/>
                    </a:lnTo>
                    <a:lnTo>
                      <a:pt x="65" y="431"/>
                    </a:lnTo>
                    <a:lnTo>
                      <a:pt x="67" y="432"/>
                    </a:lnTo>
                    <a:lnTo>
                      <a:pt x="58" y="418"/>
                    </a:lnTo>
                    <a:lnTo>
                      <a:pt x="51" y="405"/>
                    </a:lnTo>
                    <a:lnTo>
                      <a:pt x="47" y="395"/>
                    </a:lnTo>
                    <a:lnTo>
                      <a:pt x="45" y="386"/>
                    </a:lnTo>
                    <a:lnTo>
                      <a:pt x="45" y="378"/>
                    </a:lnTo>
                    <a:lnTo>
                      <a:pt x="45" y="372"/>
                    </a:lnTo>
                    <a:lnTo>
                      <a:pt x="47" y="366"/>
                    </a:lnTo>
                    <a:lnTo>
                      <a:pt x="50" y="362"/>
                    </a:lnTo>
                    <a:lnTo>
                      <a:pt x="54" y="359"/>
                    </a:lnTo>
                    <a:lnTo>
                      <a:pt x="57" y="356"/>
                    </a:lnTo>
                    <a:lnTo>
                      <a:pt x="61" y="354"/>
                    </a:lnTo>
                    <a:lnTo>
                      <a:pt x="65" y="353"/>
                    </a:lnTo>
                    <a:lnTo>
                      <a:pt x="71" y="352"/>
                    </a:lnTo>
                    <a:lnTo>
                      <a:pt x="73" y="351"/>
                    </a:lnTo>
                    <a:lnTo>
                      <a:pt x="81" y="343"/>
                    </a:lnTo>
                    <a:lnTo>
                      <a:pt x="89" y="337"/>
                    </a:lnTo>
                    <a:lnTo>
                      <a:pt x="94" y="334"/>
                    </a:lnTo>
                    <a:lnTo>
                      <a:pt x="100" y="333"/>
                    </a:lnTo>
                    <a:lnTo>
                      <a:pt x="104" y="333"/>
                    </a:lnTo>
                    <a:lnTo>
                      <a:pt x="109" y="335"/>
                    </a:lnTo>
                    <a:lnTo>
                      <a:pt x="112" y="339"/>
                    </a:lnTo>
                    <a:lnTo>
                      <a:pt x="115" y="342"/>
                    </a:lnTo>
                    <a:lnTo>
                      <a:pt x="123" y="350"/>
                    </a:lnTo>
                    <a:lnTo>
                      <a:pt x="130" y="356"/>
                    </a:lnTo>
                    <a:lnTo>
                      <a:pt x="135" y="359"/>
                    </a:lnTo>
                    <a:lnTo>
                      <a:pt x="140" y="359"/>
                    </a:lnTo>
                    <a:lnTo>
                      <a:pt x="146" y="356"/>
                    </a:lnTo>
                    <a:lnTo>
                      <a:pt x="154" y="351"/>
                    </a:lnTo>
                    <a:lnTo>
                      <a:pt x="163" y="354"/>
                    </a:lnTo>
                    <a:lnTo>
                      <a:pt x="172" y="354"/>
                    </a:lnTo>
                    <a:lnTo>
                      <a:pt x="181" y="353"/>
                    </a:lnTo>
                    <a:lnTo>
                      <a:pt x="188" y="350"/>
                    </a:lnTo>
                    <a:lnTo>
                      <a:pt x="193" y="345"/>
                    </a:lnTo>
                    <a:lnTo>
                      <a:pt x="199" y="340"/>
                    </a:lnTo>
                    <a:lnTo>
                      <a:pt x="202" y="334"/>
                    </a:lnTo>
                    <a:lnTo>
                      <a:pt x="205" y="328"/>
                    </a:lnTo>
                    <a:lnTo>
                      <a:pt x="210" y="315"/>
                    </a:lnTo>
                    <a:lnTo>
                      <a:pt x="212" y="302"/>
                    </a:lnTo>
                    <a:lnTo>
                      <a:pt x="213" y="293"/>
                    </a:lnTo>
                    <a:lnTo>
                      <a:pt x="213" y="290"/>
                    </a:lnTo>
                    <a:lnTo>
                      <a:pt x="215" y="283"/>
                    </a:lnTo>
                    <a:lnTo>
                      <a:pt x="215" y="276"/>
                    </a:lnTo>
                    <a:lnTo>
                      <a:pt x="215" y="269"/>
                    </a:lnTo>
                    <a:lnTo>
                      <a:pt x="213" y="262"/>
                    </a:lnTo>
                    <a:lnTo>
                      <a:pt x="208" y="249"/>
                    </a:lnTo>
                    <a:lnTo>
                      <a:pt x="201" y="236"/>
                    </a:lnTo>
                    <a:lnTo>
                      <a:pt x="186" y="217"/>
                    </a:lnTo>
                    <a:lnTo>
                      <a:pt x="180" y="210"/>
                    </a:lnTo>
                    <a:lnTo>
                      <a:pt x="188" y="203"/>
                    </a:lnTo>
                    <a:lnTo>
                      <a:pt x="202" y="187"/>
                    </a:lnTo>
                    <a:lnTo>
                      <a:pt x="205" y="182"/>
                    </a:lnTo>
                    <a:lnTo>
                      <a:pt x="207" y="177"/>
                    </a:lnTo>
                    <a:lnTo>
                      <a:pt x="210" y="173"/>
                    </a:lnTo>
                    <a:lnTo>
                      <a:pt x="211" y="168"/>
                    </a:lnTo>
                    <a:lnTo>
                      <a:pt x="210" y="164"/>
                    </a:lnTo>
                    <a:lnTo>
                      <a:pt x="208" y="161"/>
                    </a:lnTo>
                    <a:lnTo>
                      <a:pt x="205" y="157"/>
                    </a:lnTo>
                    <a:lnTo>
                      <a:pt x="200" y="155"/>
                    </a:lnTo>
                    <a:lnTo>
                      <a:pt x="200" y="148"/>
                    </a:lnTo>
                    <a:lnTo>
                      <a:pt x="200" y="142"/>
                    </a:lnTo>
                    <a:lnTo>
                      <a:pt x="197" y="137"/>
                    </a:lnTo>
                    <a:lnTo>
                      <a:pt x="195" y="133"/>
                    </a:lnTo>
                    <a:lnTo>
                      <a:pt x="192" y="131"/>
                    </a:lnTo>
                    <a:lnTo>
                      <a:pt x="188" y="129"/>
                    </a:lnTo>
                    <a:lnTo>
                      <a:pt x="183" y="129"/>
                    </a:lnTo>
                    <a:lnTo>
                      <a:pt x="179" y="129"/>
                    </a:lnTo>
                    <a:lnTo>
                      <a:pt x="161" y="132"/>
                    </a:lnTo>
                    <a:lnTo>
                      <a:pt x="154" y="137"/>
                    </a:lnTo>
                    <a:lnTo>
                      <a:pt x="144" y="134"/>
                    </a:lnTo>
                    <a:lnTo>
                      <a:pt x="137" y="131"/>
                    </a:lnTo>
                    <a:lnTo>
                      <a:pt x="132" y="128"/>
                    </a:lnTo>
                    <a:lnTo>
                      <a:pt x="127" y="124"/>
                    </a:lnTo>
                    <a:lnTo>
                      <a:pt x="125" y="119"/>
                    </a:lnTo>
                    <a:lnTo>
                      <a:pt x="123" y="114"/>
                    </a:lnTo>
                    <a:lnTo>
                      <a:pt x="123" y="109"/>
                    </a:lnTo>
                    <a:lnTo>
                      <a:pt x="123" y="103"/>
                    </a:lnTo>
                    <a:lnTo>
                      <a:pt x="125" y="93"/>
                    </a:lnTo>
                    <a:lnTo>
                      <a:pt x="128" y="84"/>
                    </a:lnTo>
                    <a:lnTo>
                      <a:pt x="132" y="76"/>
                    </a:lnTo>
                    <a:lnTo>
                      <a:pt x="133" y="74"/>
                    </a:lnTo>
                    <a:lnTo>
                      <a:pt x="293" y="105"/>
                    </a:lnTo>
                    <a:lnTo>
                      <a:pt x="306" y="38"/>
                    </a:lnTo>
                    <a:lnTo>
                      <a:pt x="311" y="30"/>
                    </a:lnTo>
                    <a:lnTo>
                      <a:pt x="317" y="22"/>
                    </a:lnTo>
                    <a:lnTo>
                      <a:pt x="323" y="17"/>
                    </a:lnTo>
                    <a:lnTo>
                      <a:pt x="329" y="12"/>
                    </a:lnTo>
                    <a:lnTo>
                      <a:pt x="336" y="9"/>
                    </a:lnTo>
                    <a:lnTo>
                      <a:pt x="343" y="7"/>
                    </a:lnTo>
                    <a:lnTo>
                      <a:pt x="350" y="6"/>
                    </a:lnTo>
                    <a:lnTo>
                      <a:pt x="358" y="5"/>
                    </a:lnTo>
                    <a:lnTo>
                      <a:pt x="374" y="5"/>
                    </a:lnTo>
                    <a:lnTo>
                      <a:pt x="391" y="4"/>
                    </a:lnTo>
                    <a:lnTo>
                      <a:pt x="399" y="4"/>
                    </a:lnTo>
                    <a:lnTo>
                      <a:pt x="408" y="4"/>
                    </a:lnTo>
                    <a:lnTo>
                      <a:pt x="417" y="2"/>
                    </a:lnTo>
                    <a:lnTo>
                      <a:pt x="426" y="0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54" name="Freeform 457"/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4605171" y="2082941"/>
                <a:ext cx="574466" cy="547834"/>
              </a:xfrm>
              <a:custGeom>
                <a:avLst/>
                <a:gdLst/>
                <a:ahLst/>
                <a:cxnLst>
                  <a:cxn ang="0">
                    <a:pos x="21" y="2"/>
                  </a:cxn>
                  <a:cxn ang="0">
                    <a:pos x="32" y="4"/>
                  </a:cxn>
                  <a:cxn ang="0">
                    <a:pos x="54" y="8"/>
                  </a:cxn>
                  <a:cxn ang="0">
                    <a:pos x="78" y="11"/>
                  </a:cxn>
                  <a:cxn ang="0">
                    <a:pos x="104" y="19"/>
                  </a:cxn>
                  <a:cxn ang="0">
                    <a:pos x="130" y="32"/>
                  </a:cxn>
                  <a:cxn ang="0">
                    <a:pos x="146" y="40"/>
                  </a:cxn>
                  <a:cxn ang="0">
                    <a:pos x="159" y="43"/>
                  </a:cxn>
                  <a:cxn ang="0">
                    <a:pos x="189" y="43"/>
                  </a:cxn>
                  <a:cxn ang="0">
                    <a:pos x="227" y="37"/>
                  </a:cxn>
                  <a:cxn ang="0">
                    <a:pos x="277" y="23"/>
                  </a:cxn>
                  <a:cxn ang="0">
                    <a:pos x="399" y="38"/>
                  </a:cxn>
                  <a:cxn ang="0">
                    <a:pos x="403" y="69"/>
                  </a:cxn>
                  <a:cxn ang="0">
                    <a:pos x="410" y="95"/>
                  </a:cxn>
                  <a:cxn ang="0">
                    <a:pos x="417" y="119"/>
                  </a:cxn>
                  <a:cxn ang="0">
                    <a:pos x="427" y="140"/>
                  </a:cxn>
                  <a:cxn ang="0">
                    <a:pos x="450" y="175"/>
                  </a:cxn>
                  <a:cxn ang="0">
                    <a:pos x="472" y="204"/>
                  </a:cxn>
                  <a:cxn ang="0">
                    <a:pos x="482" y="222"/>
                  </a:cxn>
                  <a:cxn ang="0">
                    <a:pos x="485" y="240"/>
                  </a:cxn>
                  <a:cxn ang="0">
                    <a:pos x="491" y="255"/>
                  </a:cxn>
                  <a:cxn ang="0">
                    <a:pos x="496" y="261"/>
                  </a:cxn>
                  <a:cxn ang="0">
                    <a:pos x="505" y="266"/>
                  </a:cxn>
                  <a:cxn ang="0">
                    <a:pos x="513" y="270"/>
                  </a:cxn>
                  <a:cxn ang="0">
                    <a:pos x="519" y="278"/>
                  </a:cxn>
                  <a:cxn ang="0">
                    <a:pos x="533" y="303"/>
                  </a:cxn>
                  <a:cxn ang="0">
                    <a:pos x="541" y="331"/>
                  </a:cxn>
                  <a:cxn ang="0">
                    <a:pos x="545" y="358"/>
                  </a:cxn>
                  <a:cxn ang="0">
                    <a:pos x="548" y="368"/>
                  </a:cxn>
                  <a:cxn ang="0">
                    <a:pos x="557" y="381"/>
                  </a:cxn>
                  <a:cxn ang="0">
                    <a:pos x="583" y="415"/>
                  </a:cxn>
                  <a:cxn ang="0">
                    <a:pos x="612" y="447"/>
                  </a:cxn>
                  <a:cxn ang="0">
                    <a:pos x="631" y="463"/>
                  </a:cxn>
                  <a:cxn ang="0">
                    <a:pos x="612" y="481"/>
                  </a:cxn>
                  <a:cxn ang="0">
                    <a:pos x="624" y="496"/>
                  </a:cxn>
                  <a:cxn ang="0">
                    <a:pos x="626" y="507"/>
                  </a:cxn>
                  <a:cxn ang="0">
                    <a:pos x="626" y="516"/>
                  </a:cxn>
                  <a:cxn ang="0">
                    <a:pos x="631" y="531"/>
                  </a:cxn>
                  <a:cxn ang="0">
                    <a:pos x="626" y="539"/>
                  </a:cxn>
                  <a:cxn ang="0">
                    <a:pos x="617" y="548"/>
                  </a:cxn>
                  <a:cxn ang="0">
                    <a:pos x="592" y="569"/>
                  </a:cxn>
                  <a:cxn ang="0">
                    <a:pos x="558" y="592"/>
                  </a:cxn>
                  <a:cxn ang="0">
                    <a:pos x="46" y="174"/>
                  </a:cxn>
                  <a:cxn ang="0">
                    <a:pos x="25" y="157"/>
                  </a:cxn>
                  <a:cxn ang="0">
                    <a:pos x="11" y="138"/>
                  </a:cxn>
                  <a:cxn ang="0">
                    <a:pos x="2" y="117"/>
                  </a:cxn>
                  <a:cxn ang="0">
                    <a:pos x="0" y="93"/>
                  </a:cxn>
                  <a:cxn ang="0">
                    <a:pos x="3" y="89"/>
                  </a:cxn>
                  <a:cxn ang="0">
                    <a:pos x="10" y="83"/>
                  </a:cxn>
                  <a:cxn ang="0">
                    <a:pos x="17" y="77"/>
                  </a:cxn>
                  <a:cxn ang="0">
                    <a:pos x="20" y="69"/>
                  </a:cxn>
                  <a:cxn ang="0">
                    <a:pos x="18" y="53"/>
                  </a:cxn>
                  <a:cxn ang="0">
                    <a:pos x="13" y="42"/>
                  </a:cxn>
                  <a:cxn ang="0">
                    <a:pos x="9" y="34"/>
                  </a:cxn>
                  <a:cxn ang="0">
                    <a:pos x="7" y="26"/>
                  </a:cxn>
                  <a:cxn ang="0">
                    <a:pos x="13" y="0"/>
                  </a:cxn>
                </a:cxnLst>
                <a:rect l="0" t="0" r="r" b="b"/>
                <a:pathLst>
                  <a:path w="631" h="592">
                    <a:moveTo>
                      <a:pt x="13" y="0"/>
                    </a:moveTo>
                    <a:lnTo>
                      <a:pt x="21" y="2"/>
                    </a:lnTo>
                    <a:lnTo>
                      <a:pt x="26" y="2"/>
                    </a:lnTo>
                    <a:lnTo>
                      <a:pt x="32" y="4"/>
                    </a:lnTo>
                    <a:lnTo>
                      <a:pt x="40" y="7"/>
                    </a:lnTo>
                    <a:lnTo>
                      <a:pt x="54" y="8"/>
                    </a:lnTo>
                    <a:lnTo>
                      <a:pt x="67" y="9"/>
                    </a:lnTo>
                    <a:lnTo>
                      <a:pt x="78" y="11"/>
                    </a:lnTo>
                    <a:lnTo>
                      <a:pt x="88" y="13"/>
                    </a:lnTo>
                    <a:lnTo>
                      <a:pt x="104" y="19"/>
                    </a:lnTo>
                    <a:lnTo>
                      <a:pt x="118" y="26"/>
                    </a:lnTo>
                    <a:lnTo>
                      <a:pt x="130" y="32"/>
                    </a:lnTo>
                    <a:lnTo>
                      <a:pt x="141" y="38"/>
                    </a:lnTo>
                    <a:lnTo>
                      <a:pt x="146" y="40"/>
                    </a:lnTo>
                    <a:lnTo>
                      <a:pt x="153" y="42"/>
                    </a:lnTo>
                    <a:lnTo>
                      <a:pt x="159" y="43"/>
                    </a:lnTo>
                    <a:lnTo>
                      <a:pt x="166" y="44"/>
                    </a:lnTo>
                    <a:lnTo>
                      <a:pt x="189" y="43"/>
                    </a:lnTo>
                    <a:lnTo>
                      <a:pt x="210" y="41"/>
                    </a:lnTo>
                    <a:lnTo>
                      <a:pt x="227" y="37"/>
                    </a:lnTo>
                    <a:lnTo>
                      <a:pt x="244" y="33"/>
                    </a:lnTo>
                    <a:lnTo>
                      <a:pt x="277" y="23"/>
                    </a:lnTo>
                    <a:lnTo>
                      <a:pt x="312" y="14"/>
                    </a:lnTo>
                    <a:lnTo>
                      <a:pt x="399" y="38"/>
                    </a:lnTo>
                    <a:lnTo>
                      <a:pt x="400" y="53"/>
                    </a:lnTo>
                    <a:lnTo>
                      <a:pt x="403" y="69"/>
                    </a:lnTo>
                    <a:lnTo>
                      <a:pt x="405" y="82"/>
                    </a:lnTo>
                    <a:lnTo>
                      <a:pt x="410" y="95"/>
                    </a:lnTo>
                    <a:lnTo>
                      <a:pt x="413" y="107"/>
                    </a:lnTo>
                    <a:lnTo>
                      <a:pt x="417" y="119"/>
                    </a:lnTo>
                    <a:lnTo>
                      <a:pt x="423" y="130"/>
                    </a:lnTo>
                    <a:lnTo>
                      <a:pt x="427" y="140"/>
                    </a:lnTo>
                    <a:lnTo>
                      <a:pt x="438" y="158"/>
                    </a:lnTo>
                    <a:lnTo>
                      <a:pt x="450" y="175"/>
                    </a:lnTo>
                    <a:lnTo>
                      <a:pt x="461" y="190"/>
                    </a:lnTo>
                    <a:lnTo>
                      <a:pt x="472" y="204"/>
                    </a:lnTo>
                    <a:lnTo>
                      <a:pt x="478" y="213"/>
                    </a:lnTo>
                    <a:lnTo>
                      <a:pt x="482" y="222"/>
                    </a:lnTo>
                    <a:lnTo>
                      <a:pt x="484" y="232"/>
                    </a:lnTo>
                    <a:lnTo>
                      <a:pt x="485" y="240"/>
                    </a:lnTo>
                    <a:lnTo>
                      <a:pt x="488" y="248"/>
                    </a:lnTo>
                    <a:lnTo>
                      <a:pt x="491" y="255"/>
                    </a:lnTo>
                    <a:lnTo>
                      <a:pt x="494" y="258"/>
                    </a:lnTo>
                    <a:lnTo>
                      <a:pt x="496" y="261"/>
                    </a:lnTo>
                    <a:lnTo>
                      <a:pt x="501" y="263"/>
                    </a:lnTo>
                    <a:lnTo>
                      <a:pt x="505" y="266"/>
                    </a:lnTo>
                    <a:lnTo>
                      <a:pt x="508" y="267"/>
                    </a:lnTo>
                    <a:lnTo>
                      <a:pt x="513" y="270"/>
                    </a:lnTo>
                    <a:lnTo>
                      <a:pt x="516" y="274"/>
                    </a:lnTo>
                    <a:lnTo>
                      <a:pt x="519" y="278"/>
                    </a:lnTo>
                    <a:lnTo>
                      <a:pt x="526" y="290"/>
                    </a:lnTo>
                    <a:lnTo>
                      <a:pt x="533" y="303"/>
                    </a:lnTo>
                    <a:lnTo>
                      <a:pt x="537" y="317"/>
                    </a:lnTo>
                    <a:lnTo>
                      <a:pt x="541" y="331"/>
                    </a:lnTo>
                    <a:lnTo>
                      <a:pt x="544" y="346"/>
                    </a:lnTo>
                    <a:lnTo>
                      <a:pt x="545" y="358"/>
                    </a:lnTo>
                    <a:lnTo>
                      <a:pt x="546" y="363"/>
                    </a:lnTo>
                    <a:lnTo>
                      <a:pt x="548" y="368"/>
                    </a:lnTo>
                    <a:lnTo>
                      <a:pt x="551" y="374"/>
                    </a:lnTo>
                    <a:lnTo>
                      <a:pt x="557" y="381"/>
                    </a:lnTo>
                    <a:lnTo>
                      <a:pt x="569" y="398"/>
                    </a:lnTo>
                    <a:lnTo>
                      <a:pt x="583" y="415"/>
                    </a:lnTo>
                    <a:lnTo>
                      <a:pt x="598" y="432"/>
                    </a:lnTo>
                    <a:lnTo>
                      <a:pt x="612" y="447"/>
                    </a:lnTo>
                    <a:lnTo>
                      <a:pt x="624" y="458"/>
                    </a:lnTo>
                    <a:lnTo>
                      <a:pt x="631" y="463"/>
                    </a:lnTo>
                    <a:lnTo>
                      <a:pt x="622" y="472"/>
                    </a:lnTo>
                    <a:lnTo>
                      <a:pt x="612" y="481"/>
                    </a:lnTo>
                    <a:lnTo>
                      <a:pt x="619" y="489"/>
                    </a:lnTo>
                    <a:lnTo>
                      <a:pt x="624" y="496"/>
                    </a:lnTo>
                    <a:lnTo>
                      <a:pt x="626" y="501"/>
                    </a:lnTo>
                    <a:lnTo>
                      <a:pt x="626" y="507"/>
                    </a:lnTo>
                    <a:lnTo>
                      <a:pt x="626" y="511"/>
                    </a:lnTo>
                    <a:lnTo>
                      <a:pt x="626" y="516"/>
                    </a:lnTo>
                    <a:lnTo>
                      <a:pt x="627" y="523"/>
                    </a:lnTo>
                    <a:lnTo>
                      <a:pt x="631" y="531"/>
                    </a:lnTo>
                    <a:lnTo>
                      <a:pt x="629" y="535"/>
                    </a:lnTo>
                    <a:lnTo>
                      <a:pt x="626" y="539"/>
                    </a:lnTo>
                    <a:lnTo>
                      <a:pt x="622" y="543"/>
                    </a:lnTo>
                    <a:lnTo>
                      <a:pt x="617" y="548"/>
                    </a:lnTo>
                    <a:lnTo>
                      <a:pt x="605" y="559"/>
                    </a:lnTo>
                    <a:lnTo>
                      <a:pt x="592" y="569"/>
                    </a:lnTo>
                    <a:lnTo>
                      <a:pt x="569" y="585"/>
                    </a:lnTo>
                    <a:lnTo>
                      <a:pt x="558" y="592"/>
                    </a:lnTo>
                    <a:lnTo>
                      <a:pt x="53" y="592"/>
                    </a:lnTo>
                    <a:lnTo>
                      <a:pt x="46" y="174"/>
                    </a:lnTo>
                    <a:lnTo>
                      <a:pt x="35" y="166"/>
                    </a:lnTo>
                    <a:lnTo>
                      <a:pt x="25" y="157"/>
                    </a:lnTo>
                    <a:lnTo>
                      <a:pt x="18" y="148"/>
                    </a:lnTo>
                    <a:lnTo>
                      <a:pt x="11" y="138"/>
                    </a:lnTo>
                    <a:lnTo>
                      <a:pt x="6" y="128"/>
                    </a:lnTo>
                    <a:lnTo>
                      <a:pt x="2" y="117"/>
                    </a:lnTo>
                    <a:lnTo>
                      <a:pt x="1" y="105"/>
                    </a:lnTo>
                    <a:lnTo>
                      <a:pt x="0" y="93"/>
                    </a:lnTo>
                    <a:lnTo>
                      <a:pt x="1" y="91"/>
                    </a:lnTo>
                    <a:lnTo>
                      <a:pt x="3" y="89"/>
                    </a:lnTo>
                    <a:lnTo>
                      <a:pt x="7" y="86"/>
                    </a:lnTo>
                    <a:lnTo>
                      <a:pt x="10" y="83"/>
                    </a:lnTo>
                    <a:lnTo>
                      <a:pt x="13" y="80"/>
                    </a:lnTo>
                    <a:lnTo>
                      <a:pt x="17" y="77"/>
                    </a:lnTo>
                    <a:lnTo>
                      <a:pt x="19" y="73"/>
                    </a:lnTo>
                    <a:lnTo>
                      <a:pt x="20" y="69"/>
                    </a:lnTo>
                    <a:lnTo>
                      <a:pt x="20" y="61"/>
                    </a:lnTo>
                    <a:lnTo>
                      <a:pt x="18" y="53"/>
                    </a:lnTo>
                    <a:lnTo>
                      <a:pt x="15" y="47"/>
                    </a:lnTo>
                    <a:lnTo>
                      <a:pt x="13" y="42"/>
                    </a:lnTo>
                    <a:lnTo>
                      <a:pt x="11" y="38"/>
                    </a:lnTo>
                    <a:lnTo>
                      <a:pt x="9" y="34"/>
                    </a:lnTo>
                    <a:lnTo>
                      <a:pt x="7" y="30"/>
                    </a:lnTo>
                    <a:lnTo>
                      <a:pt x="7" y="26"/>
                    </a:lnTo>
                    <a:lnTo>
                      <a:pt x="10" y="11"/>
                    </a:lnTo>
                    <a:lnTo>
                      <a:pt x="13" y="0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55" name="Freeform 463"/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2561154" y="3158837"/>
                <a:ext cx="394108" cy="282388"/>
              </a:xfrm>
              <a:custGeom>
                <a:avLst/>
                <a:gdLst/>
                <a:ahLst/>
                <a:cxnLst>
                  <a:cxn ang="0">
                    <a:pos x="194" y="16"/>
                  </a:cxn>
                  <a:cxn ang="0">
                    <a:pos x="216" y="22"/>
                  </a:cxn>
                  <a:cxn ang="0">
                    <a:pos x="230" y="29"/>
                  </a:cxn>
                  <a:cxn ang="0">
                    <a:pos x="253" y="35"/>
                  </a:cxn>
                  <a:cxn ang="0">
                    <a:pos x="279" y="37"/>
                  </a:cxn>
                  <a:cxn ang="0">
                    <a:pos x="300" y="37"/>
                  </a:cxn>
                  <a:cxn ang="0">
                    <a:pos x="319" y="34"/>
                  </a:cxn>
                  <a:cxn ang="0">
                    <a:pos x="329" y="29"/>
                  </a:cxn>
                  <a:cxn ang="0">
                    <a:pos x="365" y="25"/>
                  </a:cxn>
                  <a:cxn ang="0">
                    <a:pos x="372" y="49"/>
                  </a:cxn>
                  <a:cxn ang="0">
                    <a:pos x="383" y="74"/>
                  </a:cxn>
                  <a:cxn ang="0">
                    <a:pos x="391" y="84"/>
                  </a:cxn>
                  <a:cxn ang="0">
                    <a:pos x="400" y="92"/>
                  </a:cxn>
                  <a:cxn ang="0">
                    <a:pos x="412" y="97"/>
                  </a:cxn>
                  <a:cxn ang="0">
                    <a:pos x="425" y="99"/>
                  </a:cxn>
                  <a:cxn ang="0">
                    <a:pos x="425" y="120"/>
                  </a:cxn>
                  <a:cxn ang="0">
                    <a:pos x="425" y="142"/>
                  </a:cxn>
                  <a:cxn ang="0">
                    <a:pos x="416" y="158"/>
                  </a:cxn>
                  <a:cxn ang="0">
                    <a:pos x="412" y="170"/>
                  </a:cxn>
                  <a:cxn ang="0">
                    <a:pos x="412" y="181"/>
                  </a:cxn>
                  <a:cxn ang="0">
                    <a:pos x="415" y="190"/>
                  </a:cxn>
                  <a:cxn ang="0">
                    <a:pos x="423" y="211"/>
                  </a:cxn>
                  <a:cxn ang="0">
                    <a:pos x="426" y="226"/>
                  </a:cxn>
                  <a:cxn ang="0">
                    <a:pos x="425" y="247"/>
                  </a:cxn>
                  <a:cxn ang="0">
                    <a:pos x="426" y="274"/>
                  </a:cxn>
                  <a:cxn ang="0">
                    <a:pos x="423" y="285"/>
                  </a:cxn>
                  <a:cxn ang="0">
                    <a:pos x="412" y="296"/>
                  </a:cxn>
                  <a:cxn ang="0">
                    <a:pos x="380" y="298"/>
                  </a:cxn>
                  <a:cxn ang="0">
                    <a:pos x="370" y="299"/>
                  </a:cxn>
                  <a:cxn ang="0">
                    <a:pos x="360" y="296"/>
                  </a:cxn>
                  <a:cxn ang="0">
                    <a:pos x="351" y="290"/>
                  </a:cxn>
                  <a:cxn ang="0">
                    <a:pos x="338" y="278"/>
                  </a:cxn>
                  <a:cxn ang="0">
                    <a:pos x="324" y="261"/>
                  </a:cxn>
                  <a:cxn ang="0">
                    <a:pos x="311" y="253"/>
                  </a:cxn>
                  <a:cxn ang="0">
                    <a:pos x="294" y="251"/>
                  </a:cxn>
                  <a:cxn ang="0">
                    <a:pos x="278" y="232"/>
                  </a:cxn>
                  <a:cxn ang="0">
                    <a:pos x="274" y="210"/>
                  </a:cxn>
                  <a:cxn ang="0">
                    <a:pos x="269" y="197"/>
                  </a:cxn>
                  <a:cxn ang="0">
                    <a:pos x="261" y="184"/>
                  </a:cxn>
                  <a:cxn ang="0">
                    <a:pos x="251" y="173"/>
                  </a:cxn>
                  <a:cxn ang="0">
                    <a:pos x="238" y="165"/>
                  </a:cxn>
                  <a:cxn ang="0">
                    <a:pos x="222" y="161"/>
                  </a:cxn>
                  <a:cxn ang="0">
                    <a:pos x="204" y="161"/>
                  </a:cxn>
                  <a:cxn ang="0">
                    <a:pos x="188" y="163"/>
                  </a:cxn>
                  <a:cxn ang="0">
                    <a:pos x="173" y="168"/>
                  </a:cxn>
                  <a:cxn ang="0">
                    <a:pos x="160" y="176"/>
                  </a:cxn>
                  <a:cxn ang="0">
                    <a:pos x="141" y="191"/>
                  </a:cxn>
                  <a:cxn ang="0">
                    <a:pos x="118" y="215"/>
                  </a:cxn>
                  <a:cxn ang="0">
                    <a:pos x="105" y="218"/>
                  </a:cxn>
                  <a:cxn ang="0">
                    <a:pos x="100" y="201"/>
                  </a:cxn>
                  <a:cxn ang="0">
                    <a:pos x="90" y="186"/>
                  </a:cxn>
                  <a:cxn ang="0">
                    <a:pos x="76" y="171"/>
                  </a:cxn>
                  <a:cxn ang="0">
                    <a:pos x="50" y="153"/>
                  </a:cxn>
                  <a:cxn ang="0">
                    <a:pos x="24" y="134"/>
                  </a:cxn>
                  <a:cxn ang="0">
                    <a:pos x="8" y="119"/>
                  </a:cxn>
                  <a:cxn ang="0">
                    <a:pos x="15" y="101"/>
                  </a:cxn>
                  <a:cxn ang="0">
                    <a:pos x="46" y="77"/>
                  </a:cxn>
                  <a:cxn ang="0">
                    <a:pos x="75" y="48"/>
                  </a:cxn>
                  <a:cxn ang="0">
                    <a:pos x="98" y="17"/>
                  </a:cxn>
                  <a:cxn ang="0">
                    <a:pos x="179" y="13"/>
                  </a:cxn>
                </a:cxnLst>
                <a:rect l="0" t="0" r="r" b="b"/>
                <a:pathLst>
                  <a:path w="426" h="299">
                    <a:moveTo>
                      <a:pt x="179" y="13"/>
                    </a:moveTo>
                    <a:lnTo>
                      <a:pt x="194" y="16"/>
                    </a:lnTo>
                    <a:lnTo>
                      <a:pt x="207" y="19"/>
                    </a:lnTo>
                    <a:lnTo>
                      <a:pt x="216" y="22"/>
                    </a:lnTo>
                    <a:lnTo>
                      <a:pt x="223" y="24"/>
                    </a:lnTo>
                    <a:lnTo>
                      <a:pt x="230" y="29"/>
                    </a:lnTo>
                    <a:lnTo>
                      <a:pt x="233" y="31"/>
                    </a:lnTo>
                    <a:lnTo>
                      <a:pt x="253" y="35"/>
                    </a:lnTo>
                    <a:lnTo>
                      <a:pt x="269" y="37"/>
                    </a:lnTo>
                    <a:lnTo>
                      <a:pt x="279" y="37"/>
                    </a:lnTo>
                    <a:lnTo>
                      <a:pt x="285" y="37"/>
                    </a:lnTo>
                    <a:lnTo>
                      <a:pt x="300" y="37"/>
                    </a:lnTo>
                    <a:lnTo>
                      <a:pt x="314" y="36"/>
                    </a:lnTo>
                    <a:lnTo>
                      <a:pt x="319" y="34"/>
                    </a:lnTo>
                    <a:lnTo>
                      <a:pt x="325" y="32"/>
                    </a:lnTo>
                    <a:lnTo>
                      <a:pt x="329" y="29"/>
                    </a:lnTo>
                    <a:lnTo>
                      <a:pt x="331" y="25"/>
                    </a:lnTo>
                    <a:lnTo>
                      <a:pt x="365" y="25"/>
                    </a:lnTo>
                    <a:lnTo>
                      <a:pt x="368" y="37"/>
                    </a:lnTo>
                    <a:lnTo>
                      <a:pt x="372" y="49"/>
                    </a:lnTo>
                    <a:lnTo>
                      <a:pt x="376" y="62"/>
                    </a:lnTo>
                    <a:lnTo>
                      <a:pt x="383" y="74"/>
                    </a:lnTo>
                    <a:lnTo>
                      <a:pt x="386" y="79"/>
                    </a:lnTo>
                    <a:lnTo>
                      <a:pt x="391" y="84"/>
                    </a:lnTo>
                    <a:lnTo>
                      <a:pt x="395" y="88"/>
                    </a:lnTo>
                    <a:lnTo>
                      <a:pt x="400" y="92"/>
                    </a:lnTo>
                    <a:lnTo>
                      <a:pt x="405" y="95"/>
                    </a:lnTo>
                    <a:lnTo>
                      <a:pt x="412" y="97"/>
                    </a:lnTo>
                    <a:lnTo>
                      <a:pt x="418" y="98"/>
                    </a:lnTo>
                    <a:lnTo>
                      <a:pt x="425" y="99"/>
                    </a:lnTo>
                    <a:lnTo>
                      <a:pt x="425" y="111"/>
                    </a:lnTo>
                    <a:lnTo>
                      <a:pt x="425" y="120"/>
                    </a:lnTo>
                    <a:lnTo>
                      <a:pt x="425" y="130"/>
                    </a:lnTo>
                    <a:lnTo>
                      <a:pt x="425" y="142"/>
                    </a:lnTo>
                    <a:lnTo>
                      <a:pt x="419" y="151"/>
                    </a:lnTo>
                    <a:lnTo>
                      <a:pt x="416" y="158"/>
                    </a:lnTo>
                    <a:lnTo>
                      <a:pt x="413" y="164"/>
                    </a:lnTo>
                    <a:lnTo>
                      <a:pt x="412" y="170"/>
                    </a:lnTo>
                    <a:lnTo>
                      <a:pt x="412" y="175"/>
                    </a:lnTo>
                    <a:lnTo>
                      <a:pt x="412" y="181"/>
                    </a:lnTo>
                    <a:lnTo>
                      <a:pt x="414" y="186"/>
                    </a:lnTo>
                    <a:lnTo>
                      <a:pt x="415" y="190"/>
                    </a:lnTo>
                    <a:lnTo>
                      <a:pt x="419" y="200"/>
                    </a:lnTo>
                    <a:lnTo>
                      <a:pt x="423" y="211"/>
                    </a:lnTo>
                    <a:lnTo>
                      <a:pt x="425" y="218"/>
                    </a:lnTo>
                    <a:lnTo>
                      <a:pt x="426" y="226"/>
                    </a:lnTo>
                    <a:lnTo>
                      <a:pt x="426" y="236"/>
                    </a:lnTo>
                    <a:lnTo>
                      <a:pt x="425" y="247"/>
                    </a:lnTo>
                    <a:lnTo>
                      <a:pt x="426" y="261"/>
                    </a:lnTo>
                    <a:lnTo>
                      <a:pt x="426" y="274"/>
                    </a:lnTo>
                    <a:lnTo>
                      <a:pt x="425" y="280"/>
                    </a:lnTo>
                    <a:lnTo>
                      <a:pt x="423" y="285"/>
                    </a:lnTo>
                    <a:lnTo>
                      <a:pt x="418" y="292"/>
                    </a:lnTo>
                    <a:lnTo>
                      <a:pt x="412" y="296"/>
                    </a:lnTo>
                    <a:lnTo>
                      <a:pt x="385" y="296"/>
                    </a:lnTo>
                    <a:lnTo>
                      <a:pt x="380" y="298"/>
                    </a:lnTo>
                    <a:lnTo>
                      <a:pt x="375" y="299"/>
                    </a:lnTo>
                    <a:lnTo>
                      <a:pt x="370" y="299"/>
                    </a:lnTo>
                    <a:lnTo>
                      <a:pt x="365" y="297"/>
                    </a:lnTo>
                    <a:lnTo>
                      <a:pt x="360" y="296"/>
                    </a:lnTo>
                    <a:lnTo>
                      <a:pt x="356" y="293"/>
                    </a:lnTo>
                    <a:lnTo>
                      <a:pt x="351" y="290"/>
                    </a:lnTo>
                    <a:lnTo>
                      <a:pt x="347" y="286"/>
                    </a:lnTo>
                    <a:lnTo>
                      <a:pt x="338" y="278"/>
                    </a:lnTo>
                    <a:lnTo>
                      <a:pt x="330" y="269"/>
                    </a:lnTo>
                    <a:lnTo>
                      <a:pt x="324" y="261"/>
                    </a:lnTo>
                    <a:lnTo>
                      <a:pt x="318" y="253"/>
                    </a:lnTo>
                    <a:lnTo>
                      <a:pt x="311" y="253"/>
                    </a:lnTo>
                    <a:lnTo>
                      <a:pt x="304" y="252"/>
                    </a:lnTo>
                    <a:lnTo>
                      <a:pt x="294" y="251"/>
                    </a:lnTo>
                    <a:lnTo>
                      <a:pt x="279" y="247"/>
                    </a:lnTo>
                    <a:lnTo>
                      <a:pt x="278" y="232"/>
                    </a:lnTo>
                    <a:lnTo>
                      <a:pt x="275" y="217"/>
                    </a:lnTo>
                    <a:lnTo>
                      <a:pt x="274" y="210"/>
                    </a:lnTo>
                    <a:lnTo>
                      <a:pt x="272" y="203"/>
                    </a:lnTo>
                    <a:lnTo>
                      <a:pt x="269" y="197"/>
                    </a:lnTo>
                    <a:lnTo>
                      <a:pt x="266" y="190"/>
                    </a:lnTo>
                    <a:lnTo>
                      <a:pt x="261" y="184"/>
                    </a:lnTo>
                    <a:lnTo>
                      <a:pt x="257" y="179"/>
                    </a:lnTo>
                    <a:lnTo>
                      <a:pt x="251" y="173"/>
                    </a:lnTo>
                    <a:lnTo>
                      <a:pt x="245" y="168"/>
                    </a:lnTo>
                    <a:lnTo>
                      <a:pt x="238" y="165"/>
                    </a:lnTo>
                    <a:lnTo>
                      <a:pt x="230" y="162"/>
                    </a:lnTo>
                    <a:lnTo>
                      <a:pt x="222" y="161"/>
                    </a:lnTo>
                    <a:lnTo>
                      <a:pt x="213" y="160"/>
                    </a:lnTo>
                    <a:lnTo>
                      <a:pt x="204" y="161"/>
                    </a:lnTo>
                    <a:lnTo>
                      <a:pt x="195" y="162"/>
                    </a:lnTo>
                    <a:lnTo>
                      <a:pt x="188" y="163"/>
                    </a:lnTo>
                    <a:lnTo>
                      <a:pt x="181" y="166"/>
                    </a:lnTo>
                    <a:lnTo>
                      <a:pt x="173" y="168"/>
                    </a:lnTo>
                    <a:lnTo>
                      <a:pt x="167" y="172"/>
                    </a:lnTo>
                    <a:lnTo>
                      <a:pt x="160" y="176"/>
                    </a:lnTo>
                    <a:lnTo>
                      <a:pt x="155" y="181"/>
                    </a:lnTo>
                    <a:lnTo>
                      <a:pt x="141" y="191"/>
                    </a:lnTo>
                    <a:lnTo>
                      <a:pt x="131" y="202"/>
                    </a:lnTo>
                    <a:lnTo>
                      <a:pt x="118" y="215"/>
                    </a:lnTo>
                    <a:lnTo>
                      <a:pt x="106" y="228"/>
                    </a:lnTo>
                    <a:lnTo>
                      <a:pt x="105" y="218"/>
                    </a:lnTo>
                    <a:lnTo>
                      <a:pt x="103" y="209"/>
                    </a:lnTo>
                    <a:lnTo>
                      <a:pt x="100" y="201"/>
                    </a:lnTo>
                    <a:lnTo>
                      <a:pt x="95" y="193"/>
                    </a:lnTo>
                    <a:lnTo>
                      <a:pt x="90" y="186"/>
                    </a:lnTo>
                    <a:lnTo>
                      <a:pt x="83" y="179"/>
                    </a:lnTo>
                    <a:lnTo>
                      <a:pt x="76" y="171"/>
                    </a:lnTo>
                    <a:lnTo>
                      <a:pt x="68" y="165"/>
                    </a:lnTo>
                    <a:lnTo>
                      <a:pt x="50" y="153"/>
                    </a:lnTo>
                    <a:lnTo>
                      <a:pt x="33" y="140"/>
                    </a:lnTo>
                    <a:lnTo>
                      <a:pt x="24" y="134"/>
                    </a:lnTo>
                    <a:lnTo>
                      <a:pt x="15" y="127"/>
                    </a:lnTo>
                    <a:lnTo>
                      <a:pt x="8" y="119"/>
                    </a:lnTo>
                    <a:lnTo>
                      <a:pt x="0" y="111"/>
                    </a:lnTo>
                    <a:lnTo>
                      <a:pt x="15" y="101"/>
                    </a:lnTo>
                    <a:lnTo>
                      <a:pt x="31" y="90"/>
                    </a:lnTo>
                    <a:lnTo>
                      <a:pt x="46" y="77"/>
                    </a:lnTo>
                    <a:lnTo>
                      <a:pt x="60" y="62"/>
                    </a:lnTo>
                    <a:lnTo>
                      <a:pt x="75" y="48"/>
                    </a:lnTo>
                    <a:lnTo>
                      <a:pt x="87" y="33"/>
                    </a:lnTo>
                    <a:lnTo>
                      <a:pt x="98" y="17"/>
                    </a:lnTo>
                    <a:lnTo>
                      <a:pt x="106" y="0"/>
                    </a:lnTo>
                    <a:lnTo>
                      <a:pt x="179" y="13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56" name="Freeform 465"/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2911842" y="3263322"/>
                <a:ext cx="333992" cy="367105"/>
              </a:xfrm>
              <a:custGeom>
                <a:avLst/>
                <a:gdLst/>
                <a:ahLst/>
                <a:cxnLst>
                  <a:cxn ang="0">
                    <a:pos x="53" y="382"/>
                  </a:cxn>
                  <a:cxn ang="0">
                    <a:pos x="53" y="358"/>
                  </a:cxn>
                  <a:cxn ang="0">
                    <a:pos x="53" y="333"/>
                  </a:cxn>
                  <a:cxn ang="0">
                    <a:pos x="50" y="312"/>
                  </a:cxn>
                  <a:cxn ang="0">
                    <a:pos x="43" y="293"/>
                  </a:cxn>
                  <a:cxn ang="0">
                    <a:pos x="35" y="277"/>
                  </a:cxn>
                  <a:cxn ang="0">
                    <a:pos x="13" y="245"/>
                  </a:cxn>
                  <a:cxn ang="0">
                    <a:pos x="0" y="185"/>
                  </a:cxn>
                  <a:cxn ang="0">
                    <a:pos x="33" y="181"/>
                  </a:cxn>
                  <a:cxn ang="0">
                    <a:pos x="40" y="169"/>
                  </a:cxn>
                  <a:cxn ang="0">
                    <a:pos x="41" y="150"/>
                  </a:cxn>
                  <a:cxn ang="0">
                    <a:pos x="38" y="107"/>
                  </a:cxn>
                  <a:cxn ang="0">
                    <a:pos x="31" y="65"/>
                  </a:cxn>
                  <a:cxn ang="0">
                    <a:pos x="32" y="47"/>
                  </a:cxn>
                  <a:cxn ang="0">
                    <a:pos x="36" y="36"/>
                  </a:cxn>
                  <a:cxn ang="0">
                    <a:pos x="120" y="31"/>
                  </a:cxn>
                  <a:cxn ang="0">
                    <a:pos x="122" y="22"/>
                  </a:cxn>
                  <a:cxn ang="0">
                    <a:pos x="128" y="14"/>
                  </a:cxn>
                  <a:cxn ang="0">
                    <a:pos x="140" y="0"/>
                  </a:cxn>
                  <a:cxn ang="0">
                    <a:pos x="142" y="18"/>
                  </a:cxn>
                  <a:cxn ang="0">
                    <a:pos x="142" y="26"/>
                  </a:cxn>
                  <a:cxn ang="0">
                    <a:pos x="140" y="31"/>
                  </a:cxn>
                  <a:cxn ang="0">
                    <a:pos x="168" y="31"/>
                  </a:cxn>
                  <a:cxn ang="0">
                    <a:pos x="186" y="31"/>
                  </a:cxn>
                  <a:cxn ang="0">
                    <a:pos x="214" y="38"/>
                  </a:cxn>
                  <a:cxn ang="0">
                    <a:pos x="233" y="49"/>
                  </a:cxn>
                  <a:cxn ang="0">
                    <a:pos x="246" y="58"/>
                  </a:cxn>
                  <a:cxn ang="0">
                    <a:pos x="259" y="61"/>
                  </a:cxn>
                  <a:cxn ang="0">
                    <a:pos x="268" y="59"/>
                  </a:cxn>
                  <a:cxn ang="0">
                    <a:pos x="275" y="54"/>
                  </a:cxn>
                  <a:cxn ang="0">
                    <a:pos x="286" y="37"/>
                  </a:cxn>
                  <a:cxn ang="0">
                    <a:pos x="312" y="52"/>
                  </a:cxn>
                  <a:cxn ang="0">
                    <a:pos x="325" y="59"/>
                  </a:cxn>
                  <a:cxn ang="0">
                    <a:pos x="338" y="61"/>
                  </a:cxn>
                  <a:cxn ang="0">
                    <a:pos x="353" y="161"/>
                  </a:cxn>
                  <a:cxn ang="0">
                    <a:pos x="338" y="185"/>
                  </a:cxn>
                  <a:cxn ang="0">
                    <a:pos x="323" y="206"/>
                  </a:cxn>
                  <a:cxn ang="0">
                    <a:pos x="315" y="224"/>
                  </a:cxn>
                  <a:cxn ang="0">
                    <a:pos x="313" y="239"/>
                  </a:cxn>
                  <a:cxn ang="0">
                    <a:pos x="313" y="255"/>
                  </a:cxn>
                  <a:cxn ang="0">
                    <a:pos x="321" y="273"/>
                  </a:cxn>
                  <a:cxn ang="0">
                    <a:pos x="331" y="293"/>
                  </a:cxn>
                  <a:cxn ang="0">
                    <a:pos x="337" y="309"/>
                  </a:cxn>
                  <a:cxn ang="0">
                    <a:pos x="337" y="321"/>
                  </a:cxn>
                  <a:cxn ang="0">
                    <a:pos x="330" y="337"/>
                  </a:cxn>
                  <a:cxn ang="0">
                    <a:pos x="326" y="351"/>
                  </a:cxn>
                  <a:cxn ang="0">
                    <a:pos x="319" y="358"/>
                  </a:cxn>
                  <a:cxn ang="0">
                    <a:pos x="308" y="356"/>
                  </a:cxn>
                  <a:cxn ang="0">
                    <a:pos x="298" y="350"/>
                  </a:cxn>
                  <a:cxn ang="0">
                    <a:pos x="287" y="340"/>
                  </a:cxn>
                  <a:cxn ang="0">
                    <a:pos x="277" y="335"/>
                  </a:cxn>
                  <a:cxn ang="0">
                    <a:pos x="266" y="333"/>
                  </a:cxn>
                  <a:cxn ang="0">
                    <a:pos x="246" y="333"/>
                  </a:cxn>
                  <a:cxn ang="0">
                    <a:pos x="221" y="336"/>
                  </a:cxn>
                  <a:cxn ang="0">
                    <a:pos x="181" y="343"/>
                  </a:cxn>
                  <a:cxn ang="0">
                    <a:pos x="131" y="359"/>
                  </a:cxn>
                  <a:cxn ang="0">
                    <a:pos x="86" y="375"/>
                  </a:cxn>
                  <a:cxn ang="0">
                    <a:pos x="53" y="394"/>
                  </a:cxn>
                </a:cxnLst>
                <a:rect l="0" t="0" r="r" b="b"/>
                <a:pathLst>
                  <a:path w="359" h="394">
                    <a:moveTo>
                      <a:pt x="53" y="394"/>
                    </a:moveTo>
                    <a:lnTo>
                      <a:pt x="53" y="382"/>
                    </a:lnTo>
                    <a:lnTo>
                      <a:pt x="53" y="370"/>
                    </a:lnTo>
                    <a:lnTo>
                      <a:pt x="53" y="358"/>
                    </a:lnTo>
                    <a:lnTo>
                      <a:pt x="53" y="346"/>
                    </a:lnTo>
                    <a:lnTo>
                      <a:pt x="53" y="333"/>
                    </a:lnTo>
                    <a:lnTo>
                      <a:pt x="52" y="322"/>
                    </a:lnTo>
                    <a:lnTo>
                      <a:pt x="50" y="312"/>
                    </a:lnTo>
                    <a:lnTo>
                      <a:pt x="46" y="302"/>
                    </a:lnTo>
                    <a:lnTo>
                      <a:pt x="43" y="293"/>
                    </a:lnTo>
                    <a:lnTo>
                      <a:pt x="40" y="284"/>
                    </a:lnTo>
                    <a:lnTo>
                      <a:pt x="35" y="277"/>
                    </a:lnTo>
                    <a:lnTo>
                      <a:pt x="32" y="270"/>
                    </a:lnTo>
                    <a:lnTo>
                      <a:pt x="13" y="245"/>
                    </a:lnTo>
                    <a:lnTo>
                      <a:pt x="0" y="222"/>
                    </a:lnTo>
                    <a:lnTo>
                      <a:pt x="0" y="185"/>
                    </a:lnTo>
                    <a:lnTo>
                      <a:pt x="27" y="185"/>
                    </a:lnTo>
                    <a:lnTo>
                      <a:pt x="33" y="181"/>
                    </a:lnTo>
                    <a:lnTo>
                      <a:pt x="38" y="174"/>
                    </a:lnTo>
                    <a:lnTo>
                      <a:pt x="40" y="169"/>
                    </a:lnTo>
                    <a:lnTo>
                      <a:pt x="41" y="163"/>
                    </a:lnTo>
                    <a:lnTo>
                      <a:pt x="41" y="150"/>
                    </a:lnTo>
                    <a:lnTo>
                      <a:pt x="40" y="136"/>
                    </a:lnTo>
                    <a:lnTo>
                      <a:pt x="38" y="107"/>
                    </a:lnTo>
                    <a:lnTo>
                      <a:pt x="32" y="79"/>
                    </a:lnTo>
                    <a:lnTo>
                      <a:pt x="31" y="65"/>
                    </a:lnTo>
                    <a:lnTo>
                      <a:pt x="31" y="52"/>
                    </a:lnTo>
                    <a:lnTo>
                      <a:pt x="32" y="47"/>
                    </a:lnTo>
                    <a:lnTo>
                      <a:pt x="34" y="41"/>
                    </a:lnTo>
                    <a:lnTo>
                      <a:pt x="36" y="36"/>
                    </a:lnTo>
                    <a:lnTo>
                      <a:pt x="40" y="31"/>
                    </a:lnTo>
                    <a:lnTo>
                      <a:pt x="120" y="31"/>
                    </a:lnTo>
                    <a:lnTo>
                      <a:pt x="120" y="27"/>
                    </a:lnTo>
                    <a:lnTo>
                      <a:pt x="122" y="22"/>
                    </a:lnTo>
                    <a:lnTo>
                      <a:pt x="124" y="18"/>
                    </a:lnTo>
                    <a:lnTo>
                      <a:pt x="128" y="14"/>
                    </a:lnTo>
                    <a:lnTo>
                      <a:pt x="133" y="6"/>
                    </a:lnTo>
                    <a:lnTo>
                      <a:pt x="140" y="0"/>
                    </a:lnTo>
                    <a:lnTo>
                      <a:pt x="141" y="9"/>
                    </a:lnTo>
                    <a:lnTo>
                      <a:pt x="142" y="18"/>
                    </a:lnTo>
                    <a:lnTo>
                      <a:pt x="143" y="22"/>
                    </a:lnTo>
                    <a:lnTo>
                      <a:pt x="142" y="26"/>
                    </a:lnTo>
                    <a:lnTo>
                      <a:pt x="142" y="29"/>
                    </a:lnTo>
                    <a:lnTo>
                      <a:pt x="140" y="31"/>
                    </a:lnTo>
                    <a:lnTo>
                      <a:pt x="153" y="31"/>
                    </a:lnTo>
                    <a:lnTo>
                      <a:pt x="168" y="31"/>
                    </a:lnTo>
                    <a:lnTo>
                      <a:pt x="180" y="31"/>
                    </a:lnTo>
                    <a:lnTo>
                      <a:pt x="186" y="31"/>
                    </a:lnTo>
                    <a:lnTo>
                      <a:pt x="202" y="34"/>
                    </a:lnTo>
                    <a:lnTo>
                      <a:pt x="214" y="38"/>
                    </a:lnTo>
                    <a:lnTo>
                      <a:pt x="224" y="43"/>
                    </a:lnTo>
                    <a:lnTo>
                      <a:pt x="233" y="49"/>
                    </a:lnTo>
                    <a:lnTo>
                      <a:pt x="240" y="53"/>
                    </a:lnTo>
                    <a:lnTo>
                      <a:pt x="246" y="58"/>
                    </a:lnTo>
                    <a:lnTo>
                      <a:pt x="252" y="60"/>
                    </a:lnTo>
                    <a:lnTo>
                      <a:pt x="259" y="61"/>
                    </a:lnTo>
                    <a:lnTo>
                      <a:pt x="264" y="61"/>
                    </a:lnTo>
                    <a:lnTo>
                      <a:pt x="268" y="59"/>
                    </a:lnTo>
                    <a:lnTo>
                      <a:pt x="271" y="57"/>
                    </a:lnTo>
                    <a:lnTo>
                      <a:pt x="275" y="54"/>
                    </a:lnTo>
                    <a:lnTo>
                      <a:pt x="280" y="46"/>
                    </a:lnTo>
                    <a:lnTo>
                      <a:pt x="286" y="37"/>
                    </a:lnTo>
                    <a:lnTo>
                      <a:pt x="300" y="44"/>
                    </a:lnTo>
                    <a:lnTo>
                      <a:pt x="312" y="52"/>
                    </a:lnTo>
                    <a:lnTo>
                      <a:pt x="319" y="55"/>
                    </a:lnTo>
                    <a:lnTo>
                      <a:pt x="325" y="59"/>
                    </a:lnTo>
                    <a:lnTo>
                      <a:pt x="332" y="61"/>
                    </a:lnTo>
                    <a:lnTo>
                      <a:pt x="338" y="61"/>
                    </a:lnTo>
                    <a:lnTo>
                      <a:pt x="359" y="148"/>
                    </a:lnTo>
                    <a:lnTo>
                      <a:pt x="353" y="161"/>
                    </a:lnTo>
                    <a:lnTo>
                      <a:pt x="346" y="173"/>
                    </a:lnTo>
                    <a:lnTo>
                      <a:pt x="338" y="185"/>
                    </a:lnTo>
                    <a:lnTo>
                      <a:pt x="331" y="195"/>
                    </a:lnTo>
                    <a:lnTo>
                      <a:pt x="323" y="206"/>
                    </a:lnTo>
                    <a:lnTo>
                      <a:pt x="318" y="218"/>
                    </a:lnTo>
                    <a:lnTo>
                      <a:pt x="315" y="224"/>
                    </a:lnTo>
                    <a:lnTo>
                      <a:pt x="314" y="231"/>
                    </a:lnTo>
                    <a:lnTo>
                      <a:pt x="313" y="239"/>
                    </a:lnTo>
                    <a:lnTo>
                      <a:pt x="312" y="247"/>
                    </a:lnTo>
                    <a:lnTo>
                      <a:pt x="313" y="255"/>
                    </a:lnTo>
                    <a:lnTo>
                      <a:pt x="316" y="263"/>
                    </a:lnTo>
                    <a:lnTo>
                      <a:pt x="321" y="273"/>
                    </a:lnTo>
                    <a:lnTo>
                      <a:pt x="325" y="283"/>
                    </a:lnTo>
                    <a:lnTo>
                      <a:pt x="331" y="293"/>
                    </a:lnTo>
                    <a:lnTo>
                      <a:pt x="335" y="302"/>
                    </a:lnTo>
                    <a:lnTo>
                      <a:pt x="337" y="309"/>
                    </a:lnTo>
                    <a:lnTo>
                      <a:pt x="338" y="315"/>
                    </a:lnTo>
                    <a:lnTo>
                      <a:pt x="337" y="321"/>
                    </a:lnTo>
                    <a:lnTo>
                      <a:pt x="332" y="331"/>
                    </a:lnTo>
                    <a:lnTo>
                      <a:pt x="330" y="337"/>
                    </a:lnTo>
                    <a:lnTo>
                      <a:pt x="327" y="343"/>
                    </a:lnTo>
                    <a:lnTo>
                      <a:pt x="326" y="351"/>
                    </a:lnTo>
                    <a:lnTo>
                      <a:pt x="325" y="358"/>
                    </a:lnTo>
                    <a:lnTo>
                      <a:pt x="319" y="358"/>
                    </a:lnTo>
                    <a:lnTo>
                      <a:pt x="313" y="357"/>
                    </a:lnTo>
                    <a:lnTo>
                      <a:pt x="308" y="356"/>
                    </a:lnTo>
                    <a:lnTo>
                      <a:pt x="304" y="354"/>
                    </a:lnTo>
                    <a:lnTo>
                      <a:pt x="298" y="350"/>
                    </a:lnTo>
                    <a:lnTo>
                      <a:pt x="292" y="346"/>
                    </a:lnTo>
                    <a:lnTo>
                      <a:pt x="287" y="340"/>
                    </a:lnTo>
                    <a:lnTo>
                      <a:pt x="280" y="336"/>
                    </a:lnTo>
                    <a:lnTo>
                      <a:pt x="277" y="335"/>
                    </a:lnTo>
                    <a:lnTo>
                      <a:pt x="271" y="334"/>
                    </a:lnTo>
                    <a:lnTo>
                      <a:pt x="266" y="333"/>
                    </a:lnTo>
                    <a:lnTo>
                      <a:pt x="259" y="333"/>
                    </a:lnTo>
                    <a:lnTo>
                      <a:pt x="246" y="333"/>
                    </a:lnTo>
                    <a:lnTo>
                      <a:pt x="234" y="334"/>
                    </a:lnTo>
                    <a:lnTo>
                      <a:pt x="221" y="336"/>
                    </a:lnTo>
                    <a:lnTo>
                      <a:pt x="208" y="338"/>
                    </a:lnTo>
                    <a:lnTo>
                      <a:pt x="181" y="343"/>
                    </a:lnTo>
                    <a:lnTo>
                      <a:pt x="155" y="351"/>
                    </a:lnTo>
                    <a:lnTo>
                      <a:pt x="131" y="359"/>
                    </a:lnTo>
                    <a:lnTo>
                      <a:pt x="107" y="367"/>
                    </a:lnTo>
                    <a:lnTo>
                      <a:pt x="86" y="375"/>
                    </a:lnTo>
                    <a:lnTo>
                      <a:pt x="66" y="382"/>
                    </a:lnTo>
                    <a:lnTo>
                      <a:pt x="53" y="394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57" name="Freeform 466"/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5159593" y="3610656"/>
                <a:ext cx="404130" cy="482885"/>
              </a:xfrm>
              <a:custGeom>
                <a:avLst/>
                <a:gdLst/>
                <a:ahLst/>
                <a:cxnLst>
                  <a:cxn ang="0">
                    <a:pos x="410" y="105"/>
                  </a:cxn>
                  <a:cxn ang="0">
                    <a:pos x="405" y="98"/>
                  </a:cxn>
                  <a:cxn ang="0">
                    <a:pos x="408" y="92"/>
                  </a:cxn>
                  <a:cxn ang="0">
                    <a:pos x="422" y="77"/>
                  </a:cxn>
                  <a:cxn ang="0">
                    <a:pos x="441" y="60"/>
                  </a:cxn>
                  <a:cxn ang="0">
                    <a:pos x="447" y="50"/>
                  </a:cxn>
                  <a:cxn ang="0">
                    <a:pos x="449" y="37"/>
                  </a:cxn>
                  <a:cxn ang="0">
                    <a:pos x="432" y="34"/>
                  </a:cxn>
                  <a:cxn ang="0">
                    <a:pos x="422" y="27"/>
                  </a:cxn>
                  <a:cxn ang="0">
                    <a:pos x="411" y="21"/>
                  </a:cxn>
                  <a:cxn ang="0">
                    <a:pos x="390" y="18"/>
                  </a:cxn>
                  <a:cxn ang="0">
                    <a:pos x="377" y="20"/>
                  </a:cxn>
                  <a:cxn ang="0">
                    <a:pos x="368" y="24"/>
                  </a:cxn>
                  <a:cxn ang="0">
                    <a:pos x="355" y="37"/>
                  </a:cxn>
                  <a:cxn ang="0">
                    <a:pos x="340" y="50"/>
                  </a:cxn>
                  <a:cxn ang="0">
                    <a:pos x="326" y="54"/>
                  </a:cxn>
                  <a:cxn ang="0">
                    <a:pos x="310" y="55"/>
                  </a:cxn>
                  <a:cxn ang="0">
                    <a:pos x="287" y="54"/>
                  </a:cxn>
                  <a:cxn ang="0">
                    <a:pos x="267" y="50"/>
                  </a:cxn>
                  <a:cxn ang="0">
                    <a:pos x="235" y="36"/>
                  </a:cxn>
                  <a:cxn ang="0">
                    <a:pos x="206" y="19"/>
                  </a:cxn>
                  <a:cxn ang="0">
                    <a:pos x="189" y="12"/>
                  </a:cxn>
                  <a:cxn ang="0">
                    <a:pos x="170" y="6"/>
                  </a:cxn>
                  <a:cxn ang="0">
                    <a:pos x="134" y="8"/>
                  </a:cxn>
                  <a:cxn ang="0">
                    <a:pos x="119" y="6"/>
                  </a:cxn>
                  <a:cxn ang="0">
                    <a:pos x="103" y="0"/>
                  </a:cxn>
                  <a:cxn ang="0">
                    <a:pos x="52" y="0"/>
                  </a:cxn>
                  <a:cxn ang="0">
                    <a:pos x="5" y="0"/>
                  </a:cxn>
                  <a:cxn ang="0">
                    <a:pos x="5" y="18"/>
                  </a:cxn>
                  <a:cxn ang="0">
                    <a:pos x="5" y="37"/>
                  </a:cxn>
                  <a:cxn ang="0">
                    <a:pos x="15" y="60"/>
                  </a:cxn>
                  <a:cxn ang="0">
                    <a:pos x="23" y="91"/>
                  </a:cxn>
                  <a:cxn ang="0">
                    <a:pos x="31" y="128"/>
                  </a:cxn>
                  <a:cxn ang="0">
                    <a:pos x="38" y="172"/>
                  </a:cxn>
                  <a:cxn ang="0">
                    <a:pos x="37" y="206"/>
                  </a:cxn>
                  <a:cxn ang="0">
                    <a:pos x="29" y="230"/>
                  </a:cxn>
                  <a:cxn ang="0">
                    <a:pos x="7" y="269"/>
                  </a:cxn>
                  <a:cxn ang="0">
                    <a:pos x="10" y="321"/>
                  </a:cxn>
                  <a:cxn ang="0">
                    <a:pos x="28" y="339"/>
                  </a:cxn>
                  <a:cxn ang="0">
                    <a:pos x="84" y="367"/>
                  </a:cxn>
                  <a:cxn ang="0">
                    <a:pos x="136" y="396"/>
                  </a:cxn>
                  <a:cxn ang="0">
                    <a:pos x="170" y="420"/>
                  </a:cxn>
                  <a:cxn ang="0">
                    <a:pos x="189" y="436"/>
                  </a:cxn>
                  <a:cxn ang="0">
                    <a:pos x="198" y="451"/>
                  </a:cxn>
                  <a:cxn ang="0">
                    <a:pos x="201" y="464"/>
                  </a:cxn>
                  <a:cxn ang="0">
                    <a:pos x="209" y="479"/>
                  </a:cxn>
                  <a:cxn ang="0">
                    <a:pos x="220" y="492"/>
                  </a:cxn>
                  <a:cxn ang="0">
                    <a:pos x="233" y="503"/>
                  </a:cxn>
                  <a:cxn ang="0">
                    <a:pos x="247" y="512"/>
                  </a:cxn>
                  <a:cxn ang="0">
                    <a:pos x="264" y="519"/>
                  </a:cxn>
                  <a:cxn ang="0">
                    <a:pos x="281" y="523"/>
                  </a:cxn>
                  <a:cxn ang="0">
                    <a:pos x="304" y="502"/>
                  </a:cxn>
                  <a:cxn ang="0">
                    <a:pos x="335" y="462"/>
                  </a:cxn>
                  <a:cxn ang="0">
                    <a:pos x="365" y="427"/>
                  </a:cxn>
                  <a:cxn ang="0">
                    <a:pos x="394" y="390"/>
                  </a:cxn>
                </a:cxnLst>
                <a:rect l="0" t="0" r="r" b="b"/>
                <a:pathLst>
                  <a:path w="449" h="523">
                    <a:moveTo>
                      <a:pt x="410" y="370"/>
                    </a:moveTo>
                    <a:lnTo>
                      <a:pt x="410" y="105"/>
                    </a:lnTo>
                    <a:lnTo>
                      <a:pt x="407" y="102"/>
                    </a:lnTo>
                    <a:lnTo>
                      <a:pt x="405" y="98"/>
                    </a:lnTo>
                    <a:lnTo>
                      <a:pt x="405" y="95"/>
                    </a:lnTo>
                    <a:lnTo>
                      <a:pt x="408" y="92"/>
                    </a:lnTo>
                    <a:lnTo>
                      <a:pt x="413" y="84"/>
                    </a:lnTo>
                    <a:lnTo>
                      <a:pt x="422" y="77"/>
                    </a:lnTo>
                    <a:lnTo>
                      <a:pt x="432" y="70"/>
                    </a:lnTo>
                    <a:lnTo>
                      <a:pt x="441" y="60"/>
                    </a:lnTo>
                    <a:lnTo>
                      <a:pt x="444" y="55"/>
                    </a:lnTo>
                    <a:lnTo>
                      <a:pt x="447" y="50"/>
                    </a:lnTo>
                    <a:lnTo>
                      <a:pt x="448" y="44"/>
                    </a:lnTo>
                    <a:lnTo>
                      <a:pt x="449" y="37"/>
                    </a:lnTo>
                    <a:lnTo>
                      <a:pt x="438" y="37"/>
                    </a:lnTo>
                    <a:lnTo>
                      <a:pt x="432" y="34"/>
                    </a:lnTo>
                    <a:lnTo>
                      <a:pt x="426" y="32"/>
                    </a:lnTo>
                    <a:lnTo>
                      <a:pt x="422" y="27"/>
                    </a:lnTo>
                    <a:lnTo>
                      <a:pt x="418" y="24"/>
                    </a:lnTo>
                    <a:lnTo>
                      <a:pt x="411" y="21"/>
                    </a:lnTo>
                    <a:lnTo>
                      <a:pt x="402" y="19"/>
                    </a:lnTo>
                    <a:lnTo>
                      <a:pt x="390" y="18"/>
                    </a:lnTo>
                    <a:lnTo>
                      <a:pt x="382" y="19"/>
                    </a:lnTo>
                    <a:lnTo>
                      <a:pt x="377" y="20"/>
                    </a:lnTo>
                    <a:lnTo>
                      <a:pt x="371" y="22"/>
                    </a:lnTo>
                    <a:lnTo>
                      <a:pt x="368" y="24"/>
                    </a:lnTo>
                    <a:lnTo>
                      <a:pt x="360" y="31"/>
                    </a:lnTo>
                    <a:lnTo>
                      <a:pt x="355" y="37"/>
                    </a:lnTo>
                    <a:lnTo>
                      <a:pt x="348" y="44"/>
                    </a:lnTo>
                    <a:lnTo>
                      <a:pt x="340" y="50"/>
                    </a:lnTo>
                    <a:lnTo>
                      <a:pt x="333" y="52"/>
                    </a:lnTo>
                    <a:lnTo>
                      <a:pt x="326" y="54"/>
                    </a:lnTo>
                    <a:lnTo>
                      <a:pt x="319" y="55"/>
                    </a:lnTo>
                    <a:lnTo>
                      <a:pt x="310" y="55"/>
                    </a:lnTo>
                    <a:lnTo>
                      <a:pt x="298" y="55"/>
                    </a:lnTo>
                    <a:lnTo>
                      <a:pt x="287" y="54"/>
                    </a:lnTo>
                    <a:lnTo>
                      <a:pt x="277" y="52"/>
                    </a:lnTo>
                    <a:lnTo>
                      <a:pt x="267" y="50"/>
                    </a:lnTo>
                    <a:lnTo>
                      <a:pt x="251" y="43"/>
                    </a:lnTo>
                    <a:lnTo>
                      <a:pt x="235" y="36"/>
                    </a:lnTo>
                    <a:lnTo>
                      <a:pt x="220" y="27"/>
                    </a:lnTo>
                    <a:lnTo>
                      <a:pt x="206" y="19"/>
                    </a:lnTo>
                    <a:lnTo>
                      <a:pt x="197" y="15"/>
                    </a:lnTo>
                    <a:lnTo>
                      <a:pt x="189" y="12"/>
                    </a:lnTo>
                    <a:lnTo>
                      <a:pt x="180" y="9"/>
                    </a:lnTo>
                    <a:lnTo>
                      <a:pt x="170" y="6"/>
                    </a:lnTo>
                    <a:lnTo>
                      <a:pt x="152" y="7"/>
                    </a:lnTo>
                    <a:lnTo>
                      <a:pt x="134" y="8"/>
                    </a:lnTo>
                    <a:lnTo>
                      <a:pt x="127" y="7"/>
                    </a:lnTo>
                    <a:lnTo>
                      <a:pt x="119" y="6"/>
                    </a:lnTo>
                    <a:lnTo>
                      <a:pt x="111" y="4"/>
                    </a:lnTo>
                    <a:lnTo>
                      <a:pt x="103" y="0"/>
                    </a:lnTo>
                    <a:lnTo>
                      <a:pt x="80" y="0"/>
                    </a:lnTo>
                    <a:lnTo>
                      <a:pt x="52" y="0"/>
                    </a:lnTo>
                    <a:lnTo>
                      <a:pt x="24" y="0"/>
                    </a:lnTo>
                    <a:lnTo>
                      <a:pt x="5" y="0"/>
                    </a:lnTo>
                    <a:lnTo>
                      <a:pt x="5" y="7"/>
                    </a:lnTo>
                    <a:lnTo>
                      <a:pt x="5" y="18"/>
                    </a:lnTo>
                    <a:lnTo>
                      <a:pt x="5" y="29"/>
                    </a:lnTo>
                    <a:lnTo>
                      <a:pt x="5" y="37"/>
                    </a:lnTo>
                    <a:lnTo>
                      <a:pt x="9" y="47"/>
                    </a:lnTo>
                    <a:lnTo>
                      <a:pt x="15" y="60"/>
                    </a:lnTo>
                    <a:lnTo>
                      <a:pt x="19" y="74"/>
                    </a:lnTo>
                    <a:lnTo>
                      <a:pt x="23" y="91"/>
                    </a:lnTo>
                    <a:lnTo>
                      <a:pt x="28" y="109"/>
                    </a:lnTo>
                    <a:lnTo>
                      <a:pt x="31" y="128"/>
                    </a:lnTo>
                    <a:lnTo>
                      <a:pt x="34" y="150"/>
                    </a:lnTo>
                    <a:lnTo>
                      <a:pt x="38" y="172"/>
                    </a:lnTo>
                    <a:lnTo>
                      <a:pt x="38" y="190"/>
                    </a:lnTo>
                    <a:lnTo>
                      <a:pt x="37" y="206"/>
                    </a:lnTo>
                    <a:lnTo>
                      <a:pt x="33" y="219"/>
                    </a:lnTo>
                    <a:lnTo>
                      <a:pt x="29" y="230"/>
                    </a:lnTo>
                    <a:lnTo>
                      <a:pt x="18" y="249"/>
                    </a:lnTo>
                    <a:lnTo>
                      <a:pt x="7" y="269"/>
                    </a:lnTo>
                    <a:lnTo>
                      <a:pt x="17" y="284"/>
                    </a:lnTo>
                    <a:lnTo>
                      <a:pt x="10" y="321"/>
                    </a:lnTo>
                    <a:lnTo>
                      <a:pt x="0" y="328"/>
                    </a:lnTo>
                    <a:lnTo>
                      <a:pt x="28" y="339"/>
                    </a:lnTo>
                    <a:lnTo>
                      <a:pt x="55" y="352"/>
                    </a:lnTo>
                    <a:lnTo>
                      <a:pt x="84" y="367"/>
                    </a:lnTo>
                    <a:lnTo>
                      <a:pt x="111" y="381"/>
                    </a:lnTo>
                    <a:lnTo>
                      <a:pt x="136" y="396"/>
                    </a:lnTo>
                    <a:lnTo>
                      <a:pt x="159" y="411"/>
                    </a:lnTo>
                    <a:lnTo>
                      <a:pt x="170" y="420"/>
                    </a:lnTo>
                    <a:lnTo>
                      <a:pt x="180" y="428"/>
                    </a:lnTo>
                    <a:lnTo>
                      <a:pt x="189" y="436"/>
                    </a:lnTo>
                    <a:lnTo>
                      <a:pt x="197" y="444"/>
                    </a:lnTo>
                    <a:lnTo>
                      <a:pt x="198" y="451"/>
                    </a:lnTo>
                    <a:lnTo>
                      <a:pt x="199" y="457"/>
                    </a:lnTo>
                    <a:lnTo>
                      <a:pt x="201" y="464"/>
                    </a:lnTo>
                    <a:lnTo>
                      <a:pt x="205" y="471"/>
                    </a:lnTo>
                    <a:lnTo>
                      <a:pt x="209" y="479"/>
                    </a:lnTo>
                    <a:lnTo>
                      <a:pt x="214" y="486"/>
                    </a:lnTo>
                    <a:lnTo>
                      <a:pt x="220" y="492"/>
                    </a:lnTo>
                    <a:lnTo>
                      <a:pt x="226" y="498"/>
                    </a:lnTo>
                    <a:lnTo>
                      <a:pt x="233" y="503"/>
                    </a:lnTo>
                    <a:lnTo>
                      <a:pt x="240" y="508"/>
                    </a:lnTo>
                    <a:lnTo>
                      <a:pt x="247" y="512"/>
                    </a:lnTo>
                    <a:lnTo>
                      <a:pt x="256" y="516"/>
                    </a:lnTo>
                    <a:lnTo>
                      <a:pt x="264" y="519"/>
                    </a:lnTo>
                    <a:lnTo>
                      <a:pt x="273" y="521"/>
                    </a:lnTo>
                    <a:lnTo>
                      <a:pt x="281" y="523"/>
                    </a:lnTo>
                    <a:lnTo>
                      <a:pt x="290" y="523"/>
                    </a:lnTo>
                    <a:lnTo>
                      <a:pt x="304" y="502"/>
                    </a:lnTo>
                    <a:lnTo>
                      <a:pt x="320" y="482"/>
                    </a:lnTo>
                    <a:lnTo>
                      <a:pt x="335" y="462"/>
                    </a:lnTo>
                    <a:lnTo>
                      <a:pt x="349" y="444"/>
                    </a:lnTo>
                    <a:lnTo>
                      <a:pt x="365" y="427"/>
                    </a:lnTo>
                    <a:lnTo>
                      <a:pt x="379" y="408"/>
                    </a:lnTo>
                    <a:lnTo>
                      <a:pt x="394" y="390"/>
                    </a:lnTo>
                    <a:lnTo>
                      <a:pt x="410" y="370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58" name="Freeform 471"/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4728751" y="5488539"/>
                <a:ext cx="130255" cy="101661"/>
              </a:xfrm>
              <a:custGeom>
                <a:avLst/>
                <a:gdLst/>
                <a:ahLst/>
                <a:cxnLst>
                  <a:cxn ang="0">
                    <a:pos x="3" y="55"/>
                  </a:cxn>
                  <a:cxn ang="0">
                    <a:pos x="11" y="54"/>
                  </a:cxn>
                  <a:cxn ang="0">
                    <a:pos x="18" y="53"/>
                  </a:cxn>
                  <a:cxn ang="0">
                    <a:pos x="24" y="50"/>
                  </a:cxn>
                  <a:cxn ang="0">
                    <a:pos x="31" y="47"/>
                  </a:cxn>
                  <a:cxn ang="0">
                    <a:pos x="42" y="38"/>
                  </a:cxn>
                  <a:cxn ang="0">
                    <a:pos x="52" y="28"/>
                  </a:cxn>
                  <a:cxn ang="0">
                    <a:pos x="61" y="18"/>
                  </a:cxn>
                  <a:cxn ang="0">
                    <a:pos x="71" y="8"/>
                  </a:cxn>
                  <a:cxn ang="0">
                    <a:pos x="76" y="5"/>
                  </a:cxn>
                  <a:cxn ang="0">
                    <a:pos x="82" y="2"/>
                  </a:cxn>
                  <a:cxn ang="0">
                    <a:pos x="88" y="0"/>
                  </a:cxn>
                  <a:cxn ang="0">
                    <a:pos x="96" y="0"/>
                  </a:cxn>
                  <a:cxn ang="0">
                    <a:pos x="102" y="0"/>
                  </a:cxn>
                  <a:cxn ang="0">
                    <a:pos x="110" y="3"/>
                  </a:cxn>
                  <a:cxn ang="0">
                    <a:pos x="117" y="6"/>
                  </a:cxn>
                  <a:cxn ang="0">
                    <a:pos x="123" y="11"/>
                  </a:cxn>
                  <a:cxn ang="0">
                    <a:pos x="128" y="16"/>
                  </a:cxn>
                  <a:cxn ang="0">
                    <a:pos x="132" y="24"/>
                  </a:cxn>
                  <a:cxn ang="0">
                    <a:pos x="134" y="30"/>
                  </a:cxn>
                  <a:cxn ang="0">
                    <a:pos x="135" y="37"/>
                  </a:cxn>
                  <a:cxn ang="0">
                    <a:pos x="134" y="40"/>
                  </a:cxn>
                  <a:cxn ang="0">
                    <a:pos x="132" y="43"/>
                  </a:cxn>
                  <a:cxn ang="0">
                    <a:pos x="129" y="47"/>
                  </a:cxn>
                  <a:cxn ang="0">
                    <a:pos x="124" y="51"/>
                  </a:cxn>
                  <a:cxn ang="0">
                    <a:pos x="113" y="61"/>
                  </a:cxn>
                  <a:cxn ang="0">
                    <a:pos x="100" y="72"/>
                  </a:cxn>
                  <a:cxn ang="0">
                    <a:pos x="87" y="82"/>
                  </a:cxn>
                  <a:cxn ang="0">
                    <a:pos x="74" y="91"/>
                  </a:cxn>
                  <a:cxn ang="0">
                    <a:pos x="63" y="96"/>
                  </a:cxn>
                  <a:cxn ang="0">
                    <a:pos x="55" y="98"/>
                  </a:cxn>
                  <a:cxn ang="0">
                    <a:pos x="51" y="97"/>
                  </a:cxn>
                  <a:cxn ang="0">
                    <a:pos x="43" y="92"/>
                  </a:cxn>
                  <a:cxn ang="0">
                    <a:pos x="32" y="85"/>
                  </a:cxn>
                  <a:cxn ang="0">
                    <a:pos x="21" y="77"/>
                  </a:cxn>
                  <a:cxn ang="0">
                    <a:pos x="11" y="68"/>
                  </a:cxn>
                  <a:cxn ang="0">
                    <a:pos x="5" y="62"/>
                  </a:cxn>
                  <a:cxn ang="0">
                    <a:pos x="1" y="59"/>
                  </a:cxn>
                  <a:cxn ang="0">
                    <a:pos x="0" y="57"/>
                  </a:cxn>
                  <a:cxn ang="0">
                    <a:pos x="0" y="56"/>
                  </a:cxn>
                  <a:cxn ang="0">
                    <a:pos x="3" y="55"/>
                  </a:cxn>
                </a:cxnLst>
                <a:rect l="0" t="0" r="r" b="b"/>
                <a:pathLst>
                  <a:path w="135" h="98">
                    <a:moveTo>
                      <a:pt x="3" y="55"/>
                    </a:moveTo>
                    <a:lnTo>
                      <a:pt x="11" y="54"/>
                    </a:lnTo>
                    <a:lnTo>
                      <a:pt x="18" y="53"/>
                    </a:lnTo>
                    <a:lnTo>
                      <a:pt x="24" y="50"/>
                    </a:lnTo>
                    <a:lnTo>
                      <a:pt x="31" y="47"/>
                    </a:lnTo>
                    <a:lnTo>
                      <a:pt x="42" y="38"/>
                    </a:lnTo>
                    <a:lnTo>
                      <a:pt x="52" y="28"/>
                    </a:lnTo>
                    <a:lnTo>
                      <a:pt x="61" y="18"/>
                    </a:lnTo>
                    <a:lnTo>
                      <a:pt x="71" y="8"/>
                    </a:lnTo>
                    <a:lnTo>
                      <a:pt x="76" y="5"/>
                    </a:lnTo>
                    <a:lnTo>
                      <a:pt x="82" y="2"/>
                    </a:lnTo>
                    <a:lnTo>
                      <a:pt x="88" y="0"/>
                    </a:lnTo>
                    <a:lnTo>
                      <a:pt x="96" y="0"/>
                    </a:lnTo>
                    <a:lnTo>
                      <a:pt x="102" y="0"/>
                    </a:lnTo>
                    <a:lnTo>
                      <a:pt x="110" y="3"/>
                    </a:lnTo>
                    <a:lnTo>
                      <a:pt x="117" y="6"/>
                    </a:lnTo>
                    <a:lnTo>
                      <a:pt x="123" y="11"/>
                    </a:lnTo>
                    <a:lnTo>
                      <a:pt x="128" y="16"/>
                    </a:lnTo>
                    <a:lnTo>
                      <a:pt x="132" y="24"/>
                    </a:lnTo>
                    <a:lnTo>
                      <a:pt x="134" y="30"/>
                    </a:lnTo>
                    <a:lnTo>
                      <a:pt x="135" y="37"/>
                    </a:lnTo>
                    <a:lnTo>
                      <a:pt x="134" y="40"/>
                    </a:lnTo>
                    <a:lnTo>
                      <a:pt x="132" y="43"/>
                    </a:lnTo>
                    <a:lnTo>
                      <a:pt x="129" y="47"/>
                    </a:lnTo>
                    <a:lnTo>
                      <a:pt x="124" y="51"/>
                    </a:lnTo>
                    <a:lnTo>
                      <a:pt x="113" y="61"/>
                    </a:lnTo>
                    <a:lnTo>
                      <a:pt x="100" y="72"/>
                    </a:lnTo>
                    <a:lnTo>
                      <a:pt x="87" y="82"/>
                    </a:lnTo>
                    <a:lnTo>
                      <a:pt x="74" y="91"/>
                    </a:lnTo>
                    <a:lnTo>
                      <a:pt x="63" y="96"/>
                    </a:lnTo>
                    <a:lnTo>
                      <a:pt x="55" y="98"/>
                    </a:lnTo>
                    <a:lnTo>
                      <a:pt x="51" y="97"/>
                    </a:lnTo>
                    <a:lnTo>
                      <a:pt x="43" y="92"/>
                    </a:lnTo>
                    <a:lnTo>
                      <a:pt x="32" y="85"/>
                    </a:lnTo>
                    <a:lnTo>
                      <a:pt x="21" y="77"/>
                    </a:lnTo>
                    <a:lnTo>
                      <a:pt x="11" y="68"/>
                    </a:lnTo>
                    <a:lnTo>
                      <a:pt x="5" y="62"/>
                    </a:lnTo>
                    <a:lnTo>
                      <a:pt x="1" y="59"/>
                    </a:lnTo>
                    <a:lnTo>
                      <a:pt x="0" y="57"/>
                    </a:lnTo>
                    <a:lnTo>
                      <a:pt x="0" y="56"/>
                    </a:lnTo>
                    <a:lnTo>
                      <a:pt x="3" y="55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59" name="Freeform 474"/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5096137" y="4395695"/>
                <a:ext cx="146958" cy="429229"/>
              </a:xfrm>
              <a:custGeom>
                <a:avLst/>
                <a:gdLst/>
                <a:ahLst/>
                <a:cxnLst>
                  <a:cxn ang="0">
                    <a:pos x="10" y="282"/>
                  </a:cxn>
                  <a:cxn ang="0">
                    <a:pos x="19" y="290"/>
                  </a:cxn>
                  <a:cxn ang="0">
                    <a:pos x="37" y="300"/>
                  </a:cxn>
                  <a:cxn ang="0">
                    <a:pos x="58" y="306"/>
                  </a:cxn>
                  <a:cxn ang="0">
                    <a:pos x="70" y="312"/>
                  </a:cxn>
                  <a:cxn ang="0">
                    <a:pos x="80" y="320"/>
                  </a:cxn>
                  <a:cxn ang="0">
                    <a:pos x="86" y="331"/>
                  </a:cxn>
                  <a:cxn ang="0">
                    <a:pos x="86" y="347"/>
                  </a:cxn>
                  <a:cxn ang="0">
                    <a:pos x="78" y="363"/>
                  </a:cxn>
                  <a:cxn ang="0">
                    <a:pos x="68" y="375"/>
                  </a:cxn>
                  <a:cxn ang="0">
                    <a:pos x="62" y="388"/>
                  </a:cxn>
                  <a:cxn ang="0">
                    <a:pos x="60" y="400"/>
                  </a:cxn>
                  <a:cxn ang="0">
                    <a:pos x="64" y="411"/>
                  </a:cxn>
                  <a:cxn ang="0">
                    <a:pos x="76" y="424"/>
                  </a:cxn>
                  <a:cxn ang="0">
                    <a:pos x="104" y="445"/>
                  </a:cxn>
                  <a:cxn ang="0">
                    <a:pos x="120" y="443"/>
                  </a:cxn>
                  <a:cxn ang="0">
                    <a:pos x="120" y="423"/>
                  </a:cxn>
                  <a:cxn ang="0">
                    <a:pos x="131" y="413"/>
                  </a:cxn>
                  <a:cxn ang="0">
                    <a:pos x="145" y="407"/>
                  </a:cxn>
                  <a:cxn ang="0">
                    <a:pos x="153" y="402"/>
                  </a:cxn>
                  <a:cxn ang="0">
                    <a:pos x="160" y="393"/>
                  </a:cxn>
                  <a:cxn ang="0">
                    <a:pos x="166" y="375"/>
                  </a:cxn>
                  <a:cxn ang="0">
                    <a:pos x="165" y="350"/>
                  </a:cxn>
                  <a:cxn ang="0">
                    <a:pos x="158" y="328"/>
                  </a:cxn>
                  <a:cxn ang="0">
                    <a:pos x="148" y="307"/>
                  </a:cxn>
                  <a:cxn ang="0">
                    <a:pos x="141" y="284"/>
                  </a:cxn>
                  <a:cxn ang="0">
                    <a:pos x="135" y="269"/>
                  </a:cxn>
                  <a:cxn ang="0">
                    <a:pos x="118" y="251"/>
                  </a:cxn>
                  <a:cxn ang="0">
                    <a:pos x="97" y="224"/>
                  </a:cxn>
                  <a:cxn ang="0">
                    <a:pos x="85" y="206"/>
                  </a:cxn>
                  <a:cxn ang="0">
                    <a:pos x="80" y="195"/>
                  </a:cxn>
                  <a:cxn ang="0">
                    <a:pos x="81" y="177"/>
                  </a:cxn>
                  <a:cxn ang="0">
                    <a:pos x="88" y="147"/>
                  </a:cxn>
                  <a:cxn ang="0">
                    <a:pos x="96" y="129"/>
                  </a:cxn>
                  <a:cxn ang="0">
                    <a:pos x="98" y="113"/>
                  </a:cxn>
                  <a:cxn ang="0">
                    <a:pos x="95" y="82"/>
                  </a:cxn>
                  <a:cxn ang="0">
                    <a:pos x="92" y="45"/>
                  </a:cxn>
                  <a:cxn ang="0">
                    <a:pos x="89" y="18"/>
                  </a:cxn>
                  <a:cxn ang="0">
                    <a:pos x="71" y="8"/>
                  </a:cxn>
                  <a:cxn ang="0">
                    <a:pos x="33" y="4"/>
                  </a:cxn>
                  <a:cxn ang="0">
                    <a:pos x="12" y="10"/>
                  </a:cxn>
                  <a:cxn ang="0">
                    <a:pos x="22" y="25"/>
                  </a:cxn>
                  <a:cxn ang="0">
                    <a:pos x="33" y="30"/>
                  </a:cxn>
                  <a:cxn ang="0">
                    <a:pos x="40" y="44"/>
                  </a:cxn>
                  <a:cxn ang="0">
                    <a:pos x="40" y="64"/>
                  </a:cxn>
                  <a:cxn ang="0">
                    <a:pos x="40" y="78"/>
                  </a:cxn>
                  <a:cxn ang="0">
                    <a:pos x="36" y="85"/>
                  </a:cxn>
                  <a:cxn ang="0">
                    <a:pos x="29" y="95"/>
                  </a:cxn>
                  <a:cxn ang="0">
                    <a:pos x="15" y="109"/>
                  </a:cxn>
                  <a:cxn ang="0">
                    <a:pos x="3" y="122"/>
                  </a:cxn>
                  <a:cxn ang="0">
                    <a:pos x="7" y="277"/>
                  </a:cxn>
                </a:cxnLst>
                <a:rect l="0" t="0" r="r" b="b"/>
                <a:pathLst>
                  <a:path w="166" h="456">
                    <a:moveTo>
                      <a:pt x="7" y="277"/>
                    </a:moveTo>
                    <a:lnTo>
                      <a:pt x="10" y="282"/>
                    </a:lnTo>
                    <a:lnTo>
                      <a:pt x="14" y="287"/>
                    </a:lnTo>
                    <a:lnTo>
                      <a:pt x="19" y="290"/>
                    </a:lnTo>
                    <a:lnTo>
                      <a:pt x="25" y="294"/>
                    </a:lnTo>
                    <a:lnTo>
                      <a:pt x="37" y="300"/>
                    </a:lnTo>
                    <a:lnTo>
                      <a:pt x="52" y="304"/>
                    </a:lnTo>
                    <a:lnTo>
                      <a:pt x="58" y="306"/>
                    </a:lnTo>
                    <a:lnTo>
                      <a:pt x="65" y="309"/>
                    </a:lnTo>
                    <a:lnTo>
                      <a:pt x="70" y="312"/>
                    </a:lnTo>
                    <a:lnTo>
                      <a:pt x="76" y="316"/>
                    </a:lnTo>
                    <a:lnTo>
                      <a:pt x="80" y="320"/>
                    </a:lnTo>
                    <a:lnTo>
                      <a:pt x="84" y="325"/>
                    </a:lnTo>
                    <a:lnTo>
                      <a:pt x="86" y="331"/>
                    </a:lnTo>
                    <a:lnTo>
                      <a:pt x="87" y="339"/>
                    </a:lnTo>
                    <a:lnTo>
                      <a:pt x="86" y="347"/>
                    </a:lnTo>
                    <a:lnTo>
                      <a:pt x="82" y="356"/>
                    </a:lnTo>
                    <a:lnTo>
                      <a:pt x="78" y="363"/>
                    </a:lnTo>
                    <a:lnTo>
                      <a:pt x="74" y="369"/>
                    </a:lnTo>
                    <a:lnTo>
                      <a:pt x="68" y="375"/>
                    </a:lnTo>
                    <a:lnTo>
                      <a:pt x="64" y="381"/>
                    </a:lnTo>
                    <a:lnTo>
                      <a:pt x="62" y="388"/>
                    </a:lnTo>
                    <a:lnTo>
                      <a:pt x="60" y="394"/>
                    </a:lnTo>
                    <a:lnTo>
                      <a:pt x="60" y="400"/>
                    </a:lnTo>
                    <a:lnTo>
                      <a:pt x="62" y="405"/>
                    </a:lnTo>
                    <a:lnTo>
                      <a:pt x="64" y="411"/>
                    </a:lnTo>
                    <a:lnTo>
                      <a:pt x="67" y="416"/>
                    </a:lnTo>
                    <a:lnTo>
                      <a:pt x="76" y="424"/>
                    </a:lnTo>
                    <a:lnTo>
                      <a:pt x="85" y="432"/>
                    </a:lnTo>
                    <a:lnTo>
                      <a:pt x="104" y="445"/>
                    </a:lnTo>
                    <a:lnTo>
                      <a:pt x="120" y="456"/>
                    </a:lnTo>
                    <a:lnTo>
                      <a:pt x="120" y="443"/>
                    </a:lnTo>
                    <a:lnTo>
                      <a:pt x="120" y="432"/>
                    </a:lnTo>
                    <a:lnTo>
                      <a:pt x="120" y="423"/>
                    </a:lnTo>
                    <a:lnTo>
                      <a:pt x="120" y="413"/>
                    </a:lnTo>
                    <a:lnTo>
                      <a:pt x="131" y="413"/>
                    </a:lnTo>
                    <a:lnTo>
                      <a:pt x="141" y="410"/>
                    </a:lnTo>
                    <a:lnTo>
                      <a:pt x="145" y="407"/>
                    </a:lnTo>
                    <a:lnTo>
                      <a:pt x="149" y="405"/>
                    </a:lnTo>
                    <a:lnTo>
                      <a:pt x="153" y="402"/>
                    </a:lnTo>
                    <a:lnTo>
                      <a:pt x="155" y="399"/>
                    </a:lnTo>
                    <a:lnTo>
                      <a:pt x="160" y="393"/>
                    </a:lnTo>
                    <a:lnTo>
                      <a:pt x="164" y="384"/>
                    </a:lnTo>
                    <a:lnTo>
                      <a:pt x="166" y="375"/>
                    </a:lnTo>
                    <a:lnTo>
                      <a:pt x="166" y="364"/>
                    </a:lnTo>
                    <a:lnTo>
                      <a:pt x="165" y="350"/>
                    </a:lnTo>
                    <a:lnTo>
                      <a:pt x="163" y="339"/>
                    </a:lnTo>
                    <a:lnTo>
                      <a:pt x="158" y="328"/>
                    </a:lnTo>
                    <a:lnTo>
                      <a:pt x="153" y="318"/>
                    </a:lnTo>
                    <a:lnTo>
                      <a:pt x="148" y="307"/>
                    </a:lnTo>
                    <a:lnTo>
                      <a:pt x="144" y="296"/>
                    </a:lnTo>
                    <a:lnTo>
                      <a:pt x="141" y="284"/>
                    </a:lnTo>
                    <a:lnTo>
                      <a:pt x="140" y="271"/>
                    </a:lnTo>
                    <a:lnTo>
                      <a:pt x="135" y="269"/>
                    </a:lnTo>
                    <a:lnTo>
                      <a:pt x="127" y="261"/>
                    </a:lnTo>
                    <a:lnTo>
                      <a:pt x="118" y="251"/>
                    </a:lnTo>
                    <a:lnTo>
                      <a:pt x="108" y="238"/>
                    </a:lnTo>
                    <a:lnTo>
                      <a:pt x="97" y="224"/>
                    </a:lnTo>
                    <a:lnTo>
                      <a:pt x="88" y="211"/>
                    </a:lnTo>
                    <a:lnTo>
                      <a:pt x="85" y="206"/>
                    </a:lnTo>
                    <a:lnTo>
                      <a:pt x="82" y="200"/>
                    </a:lnTo>
                    <a:lnTo>
                      <a:pt x="80" y="195"/>
                    </a:lnTo>
                    <a:lnTo>
                      <a:pt x="80" y="192"/>
                    </a:lnTo>
                    <a:lnTo>
                      <a:pt x="81" y="177"/>
                    </a:lnTo>
                    <a:lnTo>
                      <a:pt x="85" y="157"/>
                    </a:lnTo>
                    <a:lnTo>
                      <a:pt x="88" y="147"/>
                    </a:lnTo>
                    <a:lnTo>
                      <a:pt x="91" y="138"/>
                    </a:lnTo>
                    <a:lnTo>
                      <a:pt x="96" y="129"/>
                    </a:lnTo>
                    <a:lnTo>
                      <a:pt x="100" y="123"/>
                    </a:lnTo>
                    <a:lnTo>
                      <a:pt x="98" y="113"/>
                    </a:lnTo>
                    <a:lnTo>
                      <a:pt x="96" y="99"/>
                    </a:lnTo>
                    <a:lnTo>
                      <a:pt x="95" y="82"/>
                    </a:lnTo>
                    <a:lnTo>
                      <a:pt x="93" y="63"/>
                    </a:lnTo>
                    <a:lnTo>
                      <a:pt x="92" y="45"/>
                    </a:lnTo>
                    <a:lnTo>
                      <a:pt x="90" y="30"/>
                    </a:lnTo>
                    <a:lnTo>
                      <a:pt x="89" y="18"/>
                    </a:lnTo>
                    <a:lnTo>
                      <a:pt x="87" y="12"/>
                    </a:lnTo>
                    <a:lnTo>
                      <a:pt x="71" y="8"/>
                    </a:lnTo>
                    <a:lnTo>
                      <a:pt x="54" y="6"/>
                    </a:lnTo>
                    <a:lnTo>
                      <a:pt x="33" y="4"/>
                    </a:lnTo>
                    <a:lnTo>
                      <a:pt x="7" y="0"/>
                    </a:lnTo>
                    <a:lnTo>
                      <a:pt x="12" y="10"/>
                    </a:lnTo>
                    <a:lnTo>
                      <a:pt x="19" y="21"/>
                    </a:lnTo>
                    <a:lnTo>
                      <a:pt x="22" y="25"/>
                    </a:lnTo>
                    <a:lnTo>
                      <a:pt x="28" y="28"/>
                    </a:lnTo>
                    <a:lnTo>
                      <a:pt x="33" y="30"/>
                    </a:lnTo>
                    <a:lnTo>
                      <a:pt x="40" y="31"/>
                    </a:lnTo>
                    <a:lnTo>
                      <a:pt x="40" y="44"/>
                    </a:lnTo>
                    <a:lnTo>
                      <a:pt x="40" y="55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40" y="78"/>
                    </a:lnTo>
                    <a:lnTo>
                      <a:pt x="39" y="81"/>
                    </a:lnTo>
                    <a:lnTo>
                      <a:pt x="36" y="85"/>
                    </a:lnTo>
                    <a:lnTo>
                      <a:pt x="35" y="88"/>
                    </a:lnTo>
                    <a:lnTo>
                      <a:pt x="29" y="95"/>
                    </a:lnTo>
                    <a:lnTo>
                      <a:pt x="22" y="102"/>
                    </a:lnTo>
                    <a:lnTo>
                      <a:pt x="15" y="109"/>
                    </a:lnTo>
                    <a:lnTo>
                      <a:pt x="9" y="115"/>
                    </a:lnTo>
                    <a:lnTo>
                      <a:pt x="3" y="122"/>
                    </a:lnTo>
                    <a:lnTo>
                      <a:pt x="0" y="129"/>
                    </a:lnTo>
                    <a:lnTo>
                      <a:pt x="7" y="277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61" name="Freeform 476"/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4698693" y="4737390"/>
                <a:ext cx="397449" cy="386870"/>
              </a:xfrm>
              <a:custGeom>
                <a:avLst/>
                <a:gdLst/>
                <a:ahLst/>
                <a:cxnLst>
                  <a:cxn ang="0">
                    <a:pos x="284" y="8"/>
                  </a:cxn>
                  <a:cxn ang="0">
                    <a:pos x="320" y="27"/>
                  </a:cxn>
                  <a:cxn ang="0">
                    <a:pos x="363" y="47"/>
                  </a:cxn>
                  <a:cxn ang="0">
                    <a:pos x="395" y="58"/>
                  </a:cxn>
                  <a:cxn ang="0">
                    <a:pos x="416" y="61"/>
                  </a:cxn>
                  <a:cxn ang="0">
                    <a:pos x="425" y="81"/>
                  </a:cxn>
                  <a:cxn ang="0">
                    <a:pos x="429" y="120"/>
                  </a:cxn>
                  <a:cxn ang="0">
                    <a:pos x="434" y="157"/>
                  </a:cxn>
                  <a:cxn ang="0">
                    <a:pos x="438" y="195"/>
                  </a:cxn>
                  <a:cxn ang="0">
                    <a:pos x="438" y="223"/>
                  </a:cxn>
                  <a:cxn ang="0">
                    <a:pos x="435" y="237"/>
                  </a:cxn>
                  <a:cxn ang="0">
                    <a:pos x="425" y="259"/>
                  </a:cxn>
                  <a:cxn ang="0">
                    <a:pos x="407" y="287"/>
                  </a:cxn>
                  <a:cxn ang="0">
                    <a:pos x="391" y="307"/>
                  </a:cxn>
                  <a:cxn ang="0">
                    <a:pos x="381" y="320"/>
                  </a:cxn>
                  <a:cxn ang="0">
                    <a:pos x="374" y="332"/>
                  </a:cxn>
                  <a:cxn ang="0">
                    <a:pos x="372" y="352"/>
                  </a:cxn>
                  <a:cxn ang="0">
                    <a:pos x="359" y="372"/>
                  </a:cxn>
                  <a:cxn ang="0">
                    <a:pos x="321" y="401"/>
                  </a:cxn>
                  <a:cxn ang="0">
                    <a:pos x="205" y="388"/>
                  </a:cxn>
                  <a:cxn ang="0">
                    <a:pos x="182" y="379"/>
                  </a:cxn>
                  <a:cxn ang="0">
                    <a:pos x="165" y="370"/>
                  </a:cxn>
                  <a:cxn ang="0">
                    <a:pos x="150" y="359"/>
                  </a:cxn>
                  <a:cxn ang="0">
                    <a:pos x="139" y="346"/>
                  </a:cxn>
                  <a:cxn ang="0">
                    <a:pos x="124" y="322"/>
                  </a:cxn>
                  <a:cxn ang="0">
                    <a:pos x="108" y="296"/>
                  </a:cxn>
                  <a:cxn ang="0">
                    <a:pos x="94" y="279"/>
                  </a:cxn>
                  <a:cxn ang="0">
                    <a:pos x="72" y="259"/>
                  </a:cxn>
                  <a:cxn ang="0">
                    <a:pos x="44" y="234"/>
                  </a:cxn>
                  <a:cxn ang="0">
                    <a:pos x="24" y="213"/>
                  </a:cxn>
                  <a:cxn ang="0">
                    <a:pos x="13" y="195"/>
                  </a:cxn>
                  <a:cxn ang="0">
                    <a:pos x="4" y="176"/>
                  </a:cxn>
                  <a:cxn ang="0">
                    <a:pos x="0" y="154"/>
                  </a:cxn>
                  <a:cxn ang="0">
                    <a:pos x="18" y="141"/>
                  </a:cxn>
                  <a:cxn ang="0">
                    <a:pos x="40" y="141"/>
                  </a:cxn>
                  <a:cxn ang="0">
                    <a:pos x="53" y="141"/>
                  </a:cxn>
                  <a:cxn ang="0">
                    <a:pos x="63" y="138"/>
                  </a:cxn>
                  <a:cxn ang="0">
                    <a:pos x="77" y="131"/>
                  </a:cxn>
                  <a:cxn ang="0">
                    <a:pos x="99" y="108"/>
                  </a:cxn>
                  <a:cxn ang="0">
                    <a:pos x="117" y="87"/>
                  </a:cxn>
                  <a:cxn ang="0">
                    <a:pos x="130" y="80"/>
                  </a:cxn>
                  <a:cxn ang="0">
                    <a:pos x="150" y="71"/>
                  </a:cxn>
                  <a:cxn ang="0">
                    <a:pos x="179" y="60"/>
                  </a:cxn>
                  <a:cxn ang="0">
                    <a:pos x="203" y="50"/>
                  </a:cxn>
                  <a:cxn ang="0">
                    <a:pos x="211" y="43"/>
                  </a:cxn>
                  <a:cxn ang="0">
                    <a:pos x="210" y="38"/>
                  </a:cxn>
                  <a:cxn ang="0">
                    <a:pos x="211" y="30"/>
                  </a:cxn>
                  <a:cxn ang="0">
                    <a:pos x="213" y="17"/>
                  </a:cxn>
                  <a:cxn ang="0">
                    <a:pos x="217" y="12"/>
                  </a:cxn>
                  <a:cxn ang="0">
                    <a:pos x="225" y="12"/>
                  </a:cxn>
                  <a:cxn ang="0">
                    <a:pos x="232" y="9"/>
                  </a:cxn>
                  <a:cxn ang="0">
                    <a:pos x="236" y="4"/>
                  </a:cxn>
                  <a:cxn ang="0">
                    <a:pos x="244" y="2"/>
                  </a:cxn>
                  <a:cxn ang="0">
                    <a:pos x="251" y="3"/>
                  </a:cxn>
                  <a:cxn ang="0">
                    <a:pos x="264" y="1"/>
                  </a:cxn>
                </a:cxnLst>
                <a:rect l="0" t="0" r="r" b="b"/>
                <a:pathLst>
                  <a:path w="438" h="406">
                    <a:moveTo>
                      <a:pt x="272" y="0"/>
                    </a:moveTo>
                    <a:lnTo>
                      <a:pt x="284" y="8"/>
                    </a:lnTo>
                    <a:lnTo>
                      <a:pt x="301" y="17"/>
                    </a:lnTo>
                    <a:lnTo>
                      <a:pt x="320" y="27"/>
                    </a:lnTo>
                    <a:lnTo>
                      <a:pt x="341" y="37"/>
                    </a:lnTo>
                    <a:lnTo>
                      <a:pt x="363" y="47"/>
                    </a:lnTo>
                    <a:lnTo>
                      <a:pt x="385" y="55"/>
                    </a:lnTo>
                    <a:lnTo>
                      <a:pt x="395" y="58"/>
                    </a:lnTo>
                    <a:lnTo>
                      <a:pt x="406" y="60"/>
                    </a:lnTo>
                    <a:lnTo>
                      <a:pt x="416" y="61"/>
                    </a:lnTo>
                    <a:lnTo>
                      <a:pt x="425" y="61"/>
                    </a:lnTo>
                    <a:lnTo>
                      <a:pt x="425" y="81"/>
                    </a:lnTo>
                    <a:lnTo>
                      <a:pt x="427" y="101"/>
                    </a:lnTo>
                    <a:lnTo>
                      <a:pt x="429" y="120"/>
                    </a:lnTo>
                    <a:lnTo>
                      <a:pt x="432" y="138"/>
                    </a:lnTo>
                    <a:lnTo>
                      <a:pt x="434" y="157"/>
                    </a:lnTo>
                    <a:lnTo>
                      <a:pt x="436" y="176"/>
                    </a:lnTo>
                    <a:lnTo>
                      <a:pt x="438" y="195"/>
                    </a:lnTo>
                    <a:lnTo>
                      <a:pt x="438" y="216"/>
                    </a:lnTo>
                    <a:lnTo>
                      <a:pt x="438" y="223"/>
                    </a:lnTo>
                    <a:lnTo>
                      <a:pt x="436" y="230"/>
                    </a:lnTo>
                    <a:lnTo>
                      <a:pt x="435" y="237"/>
                    </a:lnTo>
                    <a:lnTo>
                      <a:pt x="432" y="245"/>
                    </a:lnTo>
                    <a:lnTo>
                      <a:pt x="425" y="259"/>
                    </a:lnTo>
                    <a:lnTo>
                      <a:pt x="416" y="274"/>
                    </a:lnTo>
                    <a:lnTo>
                      <a:pt x="407" y="287"/>
                    </a:lnTo>
                    <a:lnTo>
                      <a:pt x="399" y="298"/>
                    </a:lnTo>
                    <a:lnTo>
                      <a:pt x="391" y="307"/>
                    </a:lnTo>
                    <a:lnTo>
                      <a:pt x="385" y="314"/>
                    </a:lnTo>
                    <a:lnTo>
                      <a:pt x="381" y="320"/>
                    </a:lnTo>
                    <a:lnTo>
                      <a:pt x="378" y="326"/>
                    </a:lnTo>
                    <a:lnTo>
                      <a:pt x="374" y="332"/>
                    </a:lnTo>
                    <a:lnTo>
                      <a:pt x="373" y="339"/>
                    </a:lnTo>
                    <a:lnTo>
                      <a:pt x="372" y="352"/>
                    </a:lnTo>
                    <a:lnTo>
                      <a:pt x="372" y="363"/>
                    </a:lnTo>
                    <a:lnTo>
                      <a:pt x="359" y="372"/>
                    </a:lnTo>
                    <a:lnTo>
                      <a:pt x="339" y="387"/>
                    </a:lnTo>
                    <a:lnTo>
                      <a:pt x="321" y="401"/>
                    </a:lnTo>
                    <a:lnTo>
                      <a:pt x="312" y="406"/>
                    </a:lnTo>
                    <a:lnTo>
                      <a:pt x="205" y="388"/>
                    </a:lnTo>
                    <a:lnTo>
                      <a:pt x="192" y="382"/>
                    </a:lnTo>
                    <a:lnTo>
                      <a:pt x="182" y="379"/>
                    </a:lnTo>
                    <a:lnTo>
                      <a:pt x="172" y="376"/>
                    </a:lnTo>
                    <a:lnTo>
                      <a:pt x="165" y="370"/>
                    </a:lnTo>
                    <a:lnTo>
                      <a:pt x="157" y="365"/>
                    </a:lnTo>
                    <a:lnTo>
                      <a:pt x="150" y="359"/>
                    </a:lnTo>
                    <a:lnTo>
                      <a:pt x="145" y="353"/>
                    </a:lnTo>
                    <a:lnTo>
                      <a:pt x="139" y="346"/>
                    </a:lnTo>
                    <a:lnTo>
                      <a:pt x="134" y="338"/>
                    </a:lnTo>
                    <a:lnTo>
                      <a:pt x="124" y="322"/>
                    </a:lnTo>
                    <a:lnTo>
                      <a:pt x="114" y="304"/>
                    </a:lnTo>
                    <a:lnTo>
                      <a:pt x="108" y="296"/>
                    </a:lnTo>
                    <a:lnTo>
                      <a:pt x="101" y="288"/>
                    </a:lnTo>
                    <a:lnTo>
                      <a:pt x="94" y="279"/>
                    </a:lnTo>
                    <a:lnTo>
                      <a:pt x="86" y="271"/>
                    </a:lnTo>
                    <a:lnTo>
                      <a:pt x="72" y="259"/>
                    </a:lnTo>
                    <a:lnTo>
                      <a:pt x="58" y="247"/>
                    </a:lnTo>
                    <a:lnTo>
                      <a:pt x="44" y="234"/>
                    </a:lnTo>
                    <a:lnTo>
                      <a:pt x="31" y="220"/>
                    </a:lnTo>
                    <a:lnTo>
                      <a:pt x="24" y="213"/>
                    </a:lnTo>
                    <a:lnTo>
                      <a:pt x="19" y="204"/>
                    </a:lnTo>
                    <a:lnTo>
                      <a:pt x="13" y="195"/>
                    </a:lnTo>
                    <a:lnTo>
                      <a:pt x="9" y="186"/>
                    </a:lnTo>
                    <a:lnTo>
                      <a:pt x="4" y="176"/>
                    </a:lnTo>
                    <a:lnTo>
                      <a:pt x="2" y="166"/>
                    </a:lnTo>
                    <a:lnTo>
                      <a:pt x="0" y="154"/>
                    </a:lnTo>
                    <a:lnTo>
                      <a:pt x="0" y="141"/>
                    </a:lnTo>
                    <a:lnTo>
                      <a:pt x="18" y="141"/>
                    </a:lnTo>
                    <a:lnTo>
                      <a:pt x="31" y="141"/>
                    </a:lnTo>
                    <a:lnTo>
                      <a:pt x="40" y="141"/>
                    </a:lnTo>
                    <a:lnTo>
                      <a:pt x="46" y="141"/>
                    </a:lnTo>
                    <a:lnTo>
                      <a:pt x="53" y="141"/>
                    </a:lnTo>
                    <a:lnTo>
                      <a:pt x="58" y="140"/>
                    </a:lnTo>
                    <a:lnTo>
                      <a:pt x="63" y="138"/>
                    </a:lnTo>
                    <a:lnTo>
                      <a:pt x="68" y="136"/>
                    </a:lnTo>
                    <a:lnTo>
                      <a:pt x="77" y="131"/>
                    </a:lnTo>
                    <a:lnTo>
                      <a:pt x="85" y="124"/>
                    </a:lnTo>
                    <a:lnTo>
                      <a:pt x="99" y="108"/>
                    </a:lnTo>
                    <a:lnTo>
                      <a:pt x="113" y="92"/>
                    </a:lnTo>
                    <a:lnTo>
                      <a:pt x="117" y="87"/>
                    </a:lnTo>
                    <a:lnTo>
                      <a:pt x="124" y="83"/>
                    </a:lnTo>
                    <a:lnTo>
                      <a:pt x="130" y="80"/>
                    </a:lnTo>
                    <a:lnTo>
                      <a:pt x="136" y="77"/>
                    </a:lnTo>
                    <a:lnTo>
                      <a:pt x="150" y="71"/>
                    </a:lnTo>
                    <a:lnTo>
                      <a:pt x="165" y="65"/>
                    </a:lnTo>
                    <a:lnTo>
                      <a:pt x="179" y="60"/>
                    </a:lnTo>
                    <a:lnTo>
                      <a:pt x="192" y="55"/>
                    </a:lnTo>
                    <a:lnTo>
                      <a:pt x="203" y="50"/>
                    </a:lnTo>
                    <a:lnTo>
                      <a:pt x="212" y="43"/>
                    </a:lnTo>
                    <a:lnTo>
                      <a:pt x="211" y="43"/>
                    </a:lnTo>
                    <a:lnTo>
                      <a:pt x="210" y="41"/>
                    </a:lnTo>
                    <a:lnTo>
                      <a:pt x="210" y="38"/>
                    </a:lnTo>
                    <a:lnTo>
                      <a:pt x="210" y="36"/>
                    </a:lnTo>
                    <a:lnTo>
                      <a:pt x="211" y="30"/>
                    </a:lnTo>
                    <a:lnTo>
                      <a:pt x="212" y="24"/>
                    </a:lnTo>
                    <a:lnTo>
                      <a:pt x="213" y="17"/>
                    </a:lnTo>
                    <a:lnTo>
                      <a:pt x="214" y="14"/>
                    </a:lnTo>
                    <a:lnTo>
                      <a:pt x="217" y="12"/>
                    </a:lnTo>
                    <a:lnTo>
                      <a:pt x="221" y="12"/>
                    </a:lnTo>
                    <a:lnTo>
                      <a:pt x="225" y="12"/>
                    </a:lnTo>
                    <a:lnTo>
                      <a:pt x="229" y="11"/>
                    </a:lnTo>
                    <a:lnTo>
                      <a:pt x="232" y="9"/>
                    </a:lnTo>
                    <a:lnTo>
                      <a:pt x="234" y="7"/>
                    </a:lnTo>
                    <a:lnTo>
                      <a:pt x="236" y="4"/>
                    </a:lnTo>
                    <a:lnTo>
                      <a:pt x="239" y="0"/>
                    </a:lnTo>
                    <a:lnTo>
                      <a:pt x="244" y="2"/>
                    </a:lnTo>
                    <a:lnTo>
                      <a:pt x="248" y="3"/>
                    </a:lnTo>
                    <a:lnTo>
                      <a:pt x="251" y="3"/>
                    </a:lnTo>
                    <a:lnTo>
                      <a:pt x="256" y="2"/>
                    </a:lnTo>
                    <a:lnTo>
                      <a:pt x="264" y="1"/>
                    </a:lnTo>
                    <a:lnTo>
                      <a:pt x="272" y="0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62" name="Freeform 477"/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4514995" y="4339220"/>
                <a:ext cx="617880" cy="533714"/>
              </a:xfrm>
              <a:custGeom>
                <a:avLst/>
                <a:gdLst/>
                <a:ahLst/>
                <a:cxnLst>
                  <a:cxn ang="0">
                    <a:pos x="513" y="8"/>
                  </a:cxn>
                  <a:cxn ang="0">
                    <a:pos x="552" y="26"/>
                  </a:cxn>
                  <a:cxn ang="0">
                    <a:pos x="645" y="63"/>
                  </a:cxn>
                  <a:cxn ang="0">
                    <a:pos x="660" y="88"/>
                  </a:cxn>
                  <a:cxn ang="0">
                    <a:pos x="678" y="94"/>
                  </a:cxn>
                  <a:cxn ang="0">
                    <a:pos x="678" y="127"/>
                  </a:cxn>
                  <a:cxn ang="0">
                    <a:pos x="677" y="144"/>
                  </a:cxn>
                  <a:cxn ang="0">
                    <a:pos x="667" y="158"/>
                  </a:cxn>
                  <a:cxn ang="0">
                    <a:pos x="647" y="178"/>
                  </a:cxn>
                  <a:cxn ang="0">
                    <a:pos x="638" y="346"/>
                  </a:cxn>
                  <a:cxn ang="0">
                    <a:pos x="461" y="388"/>
                  </a:cxn>
                  <a:cxn ang="0">
                    <a:pos x="461" y="415"/>
                  </a:cxn>
                  <a:cxn ang="0">
                    <a:pos x="455" y="435"/>
                  </a:cxn>
                  <a:cxn ang="0">
                    <a:pos x="444" y="435"/>
                  </a:cxn>
                  <a:cxn ang="0">
                    <a:pos x="434" y="440"/>
                  </a:cxn>
                  <a:cxn ang="0">
                    <a:pos x="425" y="445"/>
                  </a:cxn>
                  <a:cxn ang="0">
                    <a:pos x="414" y="447"/>
                  </a:cxn>
                  <a:cxn ang="0">
                    <a:pos x="411" y="463"/>
                  </a:cxn>
                  <a:cxn ang="0">
                    <a:pos x="410" y="474"/>
                  </a:cxn>
                  <a:cxn ang="0">
                    <a:pos x="403" y="483"/>
                  </a:cxn>
                  <a:cxn ang="0">
                    <a:pos x="365" y="498"/>
                  </a:cxn>
                  <a:cxn ang="0">
                    <a:pos x="330" y="513"/>
                  </a:cxn>
                  <a:cxn ang="0">
                    <a:pos x="313" y="525"/>
                  </a:cxn>
                  <a:cxn ang="0">
                    <a:pos x="277" y="564"/>
                  </a:cxn>
                  <a:cxn ang="0">
                    <a:pos x="258" y="573"/>
                  </a:cxn>
                  <a:cxn ang="0">
                    <a:pos x="238" y="574"/>
                  </a:cxn>
                  <a:cxn ang="0">
                    <a:pos x="193" y="574"/>
                  </a:cxn>
                  <a:cxn ang="0">
                    <a:pos x="186" y="559"/>
                  </a:cxn>
                  <a:cxn ang="0">
                    <a:pos x="165" y="547"/>
                  </a:cxn>
                  <a:cxn ang="0">
                    <a:pos x="133" y="545"/>
                  </a:cxn>
                  <a:cxn ang="0">
                    <a:pos x="93" y="556"/>
                  </a:cxn>
                  <a:cxn ang="0">
                    <a:pos x="33" y="527"/>
                  </a:cxn>
                  <a:cxn ang="0">
                    <a:pos x="0" y="285"/>
                  </a:cxn>
                  <a:cxn ang="0">
                    <a:pos x="73" y="286"/>
                  </a:cxn>
                  <a:cxn ang="0">
                    <a:pos x="103" y="282"/>
                  </a:cxn>
                  <a:cxn ang="0">
                    <a:pos x="119" y="275"/>
                  </a:cxn>
                  <a:cxn ang="0">
                    <a:pos x="129" y="256"/>
                  </a:cxn>
                  <a:cxn ang="0">
                    <a:pos x="131" y="229"/>
                  </a:cxn>
                  <a:cxn ang="0">
                    <a:pos x="126" y="185"/>
                  </a:cxn>
                  <a:cxn ang="0">
                    <a:pos x="130" y="165"/>
                  </a:cxn>
                  <a:cxn ang="0">
                    <a:pos x="140" y="171"/>
                  </a:cxn>
                  <a:cxn ang="0">
                    <a:pos x="174" y="175"/>
                  </a:cxn>
                  <a:cxn ang="0">
                    <a:pos x="188" y="186"/>
                  </a:cxn>
                  <a:cxn ang="0">
                    <a:pos x="195" y="201"/>
                  </a:cxn>
                  <a:cxn ang="0">
                    <a:pos x="208" y="210"/>
                  </a:cxn>
                  <a:cxn ang="0">
                    <a:pos x="241" y="217"/>
                  </a:cxn>
                  <a:cxn ang="0">
                    <a:pos x="269" y="214"/>
                  </a:cxn>
                  <a:cxn ang="0">
                    <a:pos x="301" y="199"/>
                  </a:cxn>
                  <a:cxn ang="0">
                    <a:pos x="319" y="196"/>
                  </a:cxn>
                  <a:cxn ang="0">
                    <a:pos x="331" y="193"/>
                  </a:cxn>
                  <a:cxn ang="0">
                    <a:pos x="343" y="190"/>
                  </a:cxn>
                  <a:cxn ang="0">
                    <a:pos x="357" y="182"/>
                  </a:cxn>
                  <a:cxn ang="0">
                    <a:pos x="368" y="168"/>
                  </a:cxn>
                  <a:cxn ang="0">
                    <a:pos x="383" y="126"/>
                  </a:cxn>
                  <a:cxn ang="0">
                    <a:pos x="403" y="47"/>
                  </a:cxn>
                  <a:cxn ang="0">
                    <a:pos x="414" y="10"/>
                  </a:cxn>
                  <a:cxn ang="0">
                    <a:pos x="431" y="6"/>
                  </a:cxn>
                  <a:cxn ang="0">
                    <a:pos x="453" y="8"/>
                  </a:cxn>
                  <a:cxn ang="0">
                    <a:pos x="482" y="1"/>
                  </a:cxn>
                </a:cxnLst>
                <a:rect l="0" t="0" r="r" b="b"/>
                <a:pathLst>
                  <a:path w="678" h="574">
                    <a:moveTo>
                      <a:pt x="505" y="1"/>
                    </a:moveTo>
                    <a:lnTo>
                      <a:pt x="507" y="4"/>
                    </a:lnTo>
                    <a:lnTo>
                      <a:pt x="513" y="8"/>
                    </a:lnTo>
                    <a:lnTo>
                      <a:pt x="521" y="12"/>
                    </a:lnTo>
                    <a:lnTo>
                      <a:pt x="529" y="16"/>
                    </a:lnTo>
                    <a:lnTo>
                      <a:pt x="552" y="26"/>
                    </a:lnTo>
                    <a:lnTo>
                      <a:pt x="578" y="37"/>
                    </a:lnTo>
                    <a:lnTo>
                      <a:pt x="624" y="55"/>
                    </a:lnTo>
                    <a:lnTo>
                      <a:pt x="645" y="63"/>
                    </a:lnTo>
                    <a:lnTo>
                      <a:pt x="650" y="73"/>
                    </a:lnTo>
                    <a:lnTo>
                      <a:pt x="657" y="84"/>
                    </a:lnTo>
                    <a:lnTo>
                      <a:pt x="660" y="88"/>
                    </a:lnTo>
                    <a:lnTo>
                      <a:pt x="666" y="91"/>
                    </a:lnTo>
                    <a:lnTo>
                      <a:pt x="671" y="93"/>
                    </a:lnTo>
                    <a:lnTo>
                      <a:pt x="678" y="94"/>
                    </a:lnTo>
                    <a:lnTo>
                      <a:pt x="678" y="107"/>
                    </a:lnTo>
                    <a:lnTo>
                      <a:pt x="678" y="118"/>
                    </a:lnTo>
                    <a:lnTo>
                      <a:pt x="678" y="127"/>
                    </a:lnTo>
                    <a:lnTo>
                      <a:pt x="678" y="137"/>
                    </a:lnTo>
                    <a:lnTo>
                      <a:pt x="678" y="141"/>
                    </a:lnTo>
                    <a:lnTo>
                      <a:pt x="677" y="144"/>
                    </a:lnTo>
                    <a:lnTo>
                      <a:pt x="674" y="148"/>
                    </a:lnTo>
                    <a:lnTo>
                      <a:pt x="673" y="151"/>
                    </a:lnTo>
                    <a:lnTo>
                      <a:pt x="667" y="158"/>
                    </a:lnTo>
                    <a:lnTo>
                      <a:pt x="660" y="165"/>
                    </a:lnTo>
                    <a:lnTo>
                      <a:pt x="653" y="172"/>
                    </a:lnTo>
                    <a:lnTo>
                      <a:pt x="647" y="178"/>
                    </a:lnTo>
                    <a:lnTo>
                      <a:pt x="641" y="185"/>
                    </a:lnTo>
                    <a:lnTo>
                      <a:pt x="638" y="192"/>
                    </a:lnTo>
                    <a:lnTo>
                      <a:pt x="638" y="346"/>
                    </a:lnTo>
                    <a:lnTo>
                      <a:pt x="466" y="378"/>
                    </a:lnTo>
                    <a:lnTo>
                      <a:pt x="464" y="382"/>
                    </a:lnTo>
                    <a:lnTo>
                      <a:pt x="461" y="388"/>
                    </a:lnTo>
                    <a:lnTo>
                      <a:pt x="460" y="394"/>
                    </a:lnTo>
                    <a:lnTo>
                      <a:pt x="460" y="400"/>
                    </a:lnTo>
                    <a:lnTo>
                      <a:pt x="461" y="415"/>
                    </a:lnTo>
                    <a:lnTo>
                      <a:pt x="466" y="433"/>
                    </a:lnTo>
                    <a:lnTo>
                      <a:pt x="460" y="434"/>
                    </a:lnTo>
                    <a:lnTo>
                      <a:pt x="455" y="435"/>
                    </a:lnTo>
                    <a:lnTo>
                      <a:pt x="451" y="436"/>
                    </a:lnTo>
                    <a:lnTo>
                      <a:pt x="448" y="436"/>
                    </a:lnTo>
                    <a:lnTo>
                      <a:pt x="444" y="435"/>
                    </a:lnTo>
                    <a:lnTo>
                      <a:pt x="439" y="433"/>
                    </a:lnTo>
                    <a:lnTo>
                      <a:pt x="436" y="437"/>
                    </a:lnTo>
                    <a:lnTo>
                      <a:pt x="434" y="440"/>
                    </a:lnTo>
                    <a:lnTo>
                      <a:pt x="432" y="442"/>
                    </a:lnTo>
                    <a:lnTo>
                      <a:pt x="429" y="444"/>
                    </a:lnTo>
                    <a:lnTo>
                      <a:pt x="425" y="445"/>
                    </a:lnTo>
                    <a:lnTo>
                      <a:pt x="421" y="445"/>
                    </a:lnTo>
                    <a:lnTo>
                      <a:pt x="417" y="445"/>
                    </a:lnTo>
                    <a:lnTo>
                      <a:pt x="414" y="447"/>
                    </a:lnTo>
                    <a:lnTo>
                      <a:pt x="413" y="450"/>
                    </a:lnTo>
                    <a:lnTo>
                      <a:pt x="412" y="457"/>
                    </a:lnTo>
                    <a:lnTo>
                      <a:pt x="411" y="463"/>
                    </a:lnTo>
                    <a:lnTo>
                      <a:pt x="410" y="469"/>
                    </a:lnTo>
                    <a:lnTo>
                      <a:pt x="410" y="471"/>
                    </a:lnTo>
                    <a:lnTo>
                      <a:pt x="410" y="474"/>
                    </a:lnTo>
                    <a:lnTo>
                      <a:pt x="411" y="476"/>
                    </a:lnTo>
                    <a:lnTo>
                      <a:pt x="412" y="476"/>
                    </a:lnTo>
                    <a:lnTo>
                      <a:pt x="403" y="483"/>
                    </a:lnTo>
                    <a:lnTo>
                      <a:pt x="392" y="488"/>
                    </a:lnTo>
                    <a:lnTo>
                      <a:pt x="379" y="493"/>
                    </a:lnTo>
                    <a:lnTo>
                      <a:pt x="365" y="498"/>
                    </a:lnTo>
                    <a:lnTo>
                      <a:pt x="350" y="504"/>
                    </a:lnTo>
                    <a:lnTo>
                      <a:pt x="336" y="510"/>
                    </a:lnTo>
                    <a:lnTo>
                      <a:pt x="330" y="513"/>
                    </a:lnTo>
                    <a:lnTo>
                      <a:pt x="324" y="516"/>
                    </a:lnTo>
                    <a:lnTo>
                      <a:pt x="317" y="520"/>
                    </a:lnTo>
                    <a:lnTo>
                      <a:pt x="313" y="525"/>
                    </a:lnTo>
                    <a:lnTo>
                      <a:pt x="299" y="541"/>
                    </a:lnTo>
                    <a:lnTo>
                      <a:pt x="285" y="557"/>
                    </a:lnTo>
                    <a:lnTo>
                      <a:pt x="277" y="564"/>
                    </a:lnTo>
                    <a:lnTo>
                      <a:pt x="268" y="569"/>
                    </a:lnTo>
                    <a:lnTo>
                      <a:pt x="263" y="571"/>
                    </a:lnTo>
                    <a:lnTo>
                      <a:pt x="258" y="573"/>
                    </a:lnTo>
                    <a:lnTo>
                      <a:pt x="253" y="574"/>
                    </a:lnTo>
                    <a:lnTo>
                      <a:pt x="246" y="574"/>
                    </a:lnTo>
                    <a:lnTo>
                      <a:pt x="238" y="574"/>
                    </a:lnTo>
                    <a:lnTo>
                      <a:pt x="227" y="574"/>
                    </a:lnTo>
                    <a:lnTo>
                      <a:pt x="212" y="574"/>
                    </a:lnTo>
                    <a:lnTo>
                      <a:pt x="193" y="574"/>
                    </a:lnTo>
                    <a:lnTo>
                      <a:pt x="192" y="569"/>
                    </a:lnTo>
                    <a:lnTo>
                      <a:pt x="189" y="564"/>
                    </a:lnTo>
                    <a:lnTo>
                      <a:pt x="186" y="559"/>
                    </a:lnTo>
                    <a:lnTo>
                      <a:pt x="180" y="554"/>
                    </a:lnTo>
                    <a:lnTo>
                      <a:pt x="173" y="550"/>
                    </a:lnTo>
                    <a:lnTo>
                      <a:pt x="165" y="547"/>
                    </a:lnTo>
                    <a:lnTo>
                      <a:pt x="156" y="545"/>
                    </a:lnTo>
                    <a:lnTo>
                      <a:pt x="146" y="544"/>
                    </a:lnTo>
                    <a:lnTo>
                      <a:pt x="133" y="545"/>
                    </a:lnTo>
                    <a:lnTo>
                      <a:pt x="120" y="548"/>
                    </a:lnTo>
                    <a:lnTo>
                      <a:pt x="108" y="552"/>
                    </a:lnTo>
                    <a:lnTo>
                      <a:pt x="93" y="556"/>
                    </a:lnTo>
                    <a:lnTo>
                      <a:pt x="61" y="556"/>
                    </a:lnTo>
                    <a:lnTo>
                      <a:pt x="48" y="544"/>
                    </a:lnTo>
                    <a:lnTo>
                      <a:pt x="33" y="527"/>
                    </a:lnTo>
                    <a:lnTo>
                      <a:pt x="17" y="510"/>
                    </a:lnTo>
                    <a:lnTo>
                      <a:pt x="0" y="494"/>
                    </a:lnTo>
                    <a:lnTo>
                      <a:pt x="0" y="285"/>
                    </a:lnTo>
                    <a:lnTo>
                      <a:pt x="21" y="286"/>
                    </a:lnTo>
                    <a:lnTo>
                      <a:pt x="54" y="286"/>
                    </a:lnTo>
                    <a:lnTo>
                      <a:pt x="73" y="286"/>
                    </a:lnTo>
                    <a:lnTo>
                      <a:pt x="89" y="285"/>
                    </a:lnTo>
                    <a:lnTo>
                      <a:pt x="97" y="284"/>
                    </a:lnTo>
                    <a:lnTo>
                      <a:pt x="103" y="282"/>
                    </a:lnTo>
                    <a:lnTo>
                      <a:pt x="109" y="281"/>
                    </a:lnTo>
                    <a:lnTo>
                      <a:pt x="113" y="279"/>
                    </a:lnTo>
                    <a:lnTo>
                      <a:pt x="119" y="275"/>
                    </a:lnTo>
                    <a:lnTo>
                      <a:pt x="123" y="269"/>
                    </a:lnTo>
                    <a:lnTo>
                      <a:pt x="126" y="263"/>
                    </a:lnTo>
                    <a:lnTo>
                      <a:pt x="129" y="256"/>
                    </a:lnTo>
                    <a:lnTo>
                      <a:pt x="130" y="247"/>
                    </a:lnTo>
                    <a:lnTo>
                      <a:pt x="131" y="238"/>
                    </a:lnTo>
                    <a:lnTo>
                      <a:pt x="131" y="229"/>
                    </a:lnTo>
                    <a:lnTo>
                      <a:pt x="130" y="220"/>
                    </a:lnTo>
                    <a:lnTo>
                      <a:pt x="129" y="202"/>
                    </a:lnTo>
                    <a:lnTo>
                      <a:pt x="126" y="185"/>
                    </a:lnTo>
                    <a:lnTo>
                      <a:pt x="125" y="171"/>
                    </a:lnTo>
                    <a:lnTo>
                      <a:pt x="126" y="162"/>
                    </a:lnTo>
                    <a:lnTo>
                      <a:pt x="130" y="165"/>
                    </a:lnTo>
                    <a:lnTo>
                      <a:pt x="132" y="168"/>
                    </a:lnTo>
                    <a:lnTo>
                      <a:pt x="136" y="170"/>
                    </a:lnTo>
                    <a:lnTo>
                      <a:pt x="140" y="171"/>
                    </a:lnTo>
                    <a:lnTo>
                      <a:pt x="147" y="174"/>
                    </a:lnTo>
                    <a:lnTo>
                      <a:pt x="156" y="175"/>
                    </a:lnTo>
                    <a:lnTo>
                      <a:pt x="174" y="175"/>
                    </a:lnTo>
                    <a:lnTo>
                      <a:pt x="187" y="174"/>
                    </a:lnTo>
                    <a:lnTo>
                      <a:pt x="187" y="180"/>
                    </a:lnTo>
                    <a:lnTo>
                      <a:pt x="188" y="186"/>
                    </a:lnTo>
                    <a:lnTo>
                      <a:pt x="190" y="191"/>
                    </a:lnTo>
                    <a:lnTo>
                      <a:pt x="192" y="197"/>
                    </a:lnTo>
                    <a:lnTo>
                      <a:pt x="195" y="201"/>
                    </a:lnTo>
                    <a:lnTo>
                      <a:pt x="199" y="204"/>
                    </a:lnTo>
                    <a:lnTo>
                      <a:pt x="202" y="207"/>
                    </a:lnTo>
                    <a:lnTo>
                      <a:pt x="208" y="210"/>
                    </a:lnTo>
                    <a:lnTo>
                      <a:pt x="218" y="213"/>
                    </a:lnTo>
                    <a:lnTo>
                      <a:pt x="229" y="216"/>
                    </a:lnTo>
                    <a:lnTo>
                      <a:pt x="241" y="217"/>
                    </a:lnTo>
                    <a:lnTo>
                      <a:pt x="253" y="217"/>
                    </a:lnTo>
                    <a:lnTo>
                      <a:pt x="260" y="216"/>
                    </a:lnTo>
                    <a:lnTo>
                      <a:pt x="269" y="214"/>
                    </a:lnTo>
                    <a:lnTo>
                      <a:pt x="277" y="211"/>
                    </a:lnTo>
                    <a:lnTo>
                      <a:pt x="286" y="207"/>
                    </a:lnTo>
                    <a:lnTo>
                      <a:pt x="301" y="199"/>
                    </a:lnTo>
                    <a:lnTo>
                      <a:pt x="313" y="192"/>
                    </a:lnTo>
                    <a:lnTo>
                      <a:pt x="315" y="195"/>
                    </a:lnTo>
                    <a:lnTo>
                      <a:pt x="319" y="196"/>
                    </a:lnTo>
                    <a:lnTo>
                      <a:pt x="322" y="196"/>
                    </a:lnTo>
                    <a:lnTo>
                      <a:pt x="325" y="195"/>
                    </a:lnTo>
                    <a:lnTo>
                      <a:pt x="331" y="193"/>
                    </a:lnTo>
                    <a:lnTo>
                      <a:pt x="333" y="192"/>
                    </a:lnTo>
                    <a:lnTo>
                      <a:pt x="338" y="192"/>
                    </a:lnTo>
                    <a:lnTo>
                      <a:pt x="343" y="190"/>
                    </a:lnTo>
                    <a:lnTo>
                      <a:pt x="348" y="188"/>
                    </a:lnTo>
                    <a:lnTo>
                      <a:pt x="353" y="185"/>
                    </a:lnTo>
                    <a:lnTo>
                      <a:pt x="357" y="182"/>
                    </a:lnTo>
                    <a:lnTo>
                      <a:pt x="360" y="178"/>
                    </a:lnTo>
                    <a:lnTo>
                      <a:pt x="364" y="173"/>
                    </a:lnTo>
                    <a:lnTo>
                      <a:pt x="368" y="168"/>
                    </a:lnTo>
                    <a:lnTo>
                      <a:pt x="373" y="156"/>
                    </a:lnTo>
                    <a:lnTo>
                      <a:pt x="379" y="142"/>
                    </a:lnTo>
                    <a:lnTo>
                      <a:pt x="383" y="126"/>
                    </a:lnTo>
                    <a:lnTo>
                      <a:pt x="388" y="111"/>
                    </a:lnTo>
                    <a:lnTo>
                      <a:pt x="395" y="78"/>
                    </a:lnTo>
                    <a:lnTo>
                      <a:pt x="403" y="47"/>
                    </a:lnTo>
                    <a:lnTo>
                      <a:pt x="406" y="33"/>
                    </a:lnTo>
                    <a:lnTo>
                      <a:pt x="410" y="20"/>
                    </a:lnTo>
                    <a:lnTo>
                      <a:pt x="414" y="10"/>
                    </a:lnTo>
                    <a:lnTo>
                      <a:pt x="418" y="1"/>
                    </a:lnTo>
                    <a:lnTo>
                      <a:pt x="425" y="4"/>
                    </a:lnTo>
                    <a:lnTo>
                      <a:pt x="431" y="6"/>
                    </a:lnTo>
                    <a:lnTo>
                      <a:pt x="436" y="8"/>
                    </a:lnTo>
                    <a:lnTo>
                      <a:pt x="442" y="8"/>
                    </a:lnTo>
                    <a:lnTo>
                      <a:pt x="453" y="8"/>
                    </a:lnTo>
                    <a:lnTo>
                      <a:pt x="462" y="6"/>
                    </a:lnTo>
                    <a:lnTo>
                      <a:pt x="472" y="4"/>
                    </a:lnTo>
                    <a:lnTo>
                      <a:pt x="482" y="1"/>
                    </a:lnTo>
                    <a:lnTo>
                      <a:pt x="493" y="0"/>
                    </a:lnTo>
                    <a:lnTo>
                      <a:pt x="505" y="1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63" name="Freeform 478"/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3960571" y="4824924"/>
                <a:ext cx="738118" cy="677731"/>
              </a:xfrm>
              <a:custGeom>
                <a:avLst/>
                <a:gdLst/>
                <a:ahLst/>
                <a:cxnLst>
                  <a:cxn ang="0">
                    <a:pos x="797" y="42"/>
                  </a:cxn>
                  <a:cxn ang="0">
                    <a:pos x="766" y="26"/>
                  </a:cxn>
                  <a:cxn ang="0">
                    <a:pos x="718" y="33"/>
                  </a:cxn>
                  <a:cxn ang="0">
                    <a:pos x="634" y="44"/>
                  </a:cxn>
                  <a:cxn ang="0">
                    <a:pos x="604" y="55"/>
                  </a:cxn>
                  <a:cxn ang="0">
                    <a:pos x="280" y="40"/>
                  </a:cxn>
                  <a:cxn ang="0">
                    <a:pos x="232" y="37"/>
                  </a:cxn>
                  <a:cxn ang="0">
                    <a:pos x="172" y="17"/>
                  </a:cxn>
                  <a:cxn ang="0">
                    <a:pos x="116" y="0"/>
                  </a:cxn>
                  <a:cxn ang="0">
                    <a:pos x="83" y="5"/>
                  </a:cxn>
                  <a:cxn ang="0">
                    <a:pos x="53" y="24"/>
                  </a:cxn>
                  <a:cxn ang="0">
                    <a:pos x="0" y="55"/>
                  </a:cxn>
                  <a:cxn ang="0">
                    <a:pos x="7" y="68"/>
                  </a:cxn>
                  <a:cxn ang="0">
                    <a:pos x="26" y="74"/>
                  </a:cxn>
                  <a:cxn ang="0">
                    <a:pos x="36" y="129"/>
                  </a:cxn>
                  <a:cxn ang="0">
                    <a:pos x="60" y="192"/>
                  </a:cxn>
                  <a:cxn ang="0">
                    <a:pos x="109" y="276"/>
                  </a:cxn>
                  <a:cxn ang="0">
                    <a:pos x="133" y="300"/>
                  </a:cxn>
                  <a:cxn ang="0">
                    <a:pos x="159" y="302"/>
                  </a:cxn>
                  <a:cxn ang="0">
                    <a:pos x="159" y="332"/>
                  </a:cxn>
                  <a:cxn ang="0">
                    <a:pos x="152" y="359"/>
                  </a:cxn>
                  <a:cxn ang="0">
                    <a:pos x="146" y="394"/>
                  </a:cxn>
                  <a:cxn ang="0">
                    <a:pos x="150" y="425"/>
                  </a:cxn>
                  <a:cxn ang="0">
                    <a:pos x="173" y="484"/>
                  </a:cxn>
                  <a:cxn ang="0">
                    <a:pos x="179" y="518"/>
                  </a:cxn>
                  <a:cxn ang="0">
                    <a:pos x="187" y="606"/>
                  </a:cxn>
                  <a:cxn ang="0">
                    <a:pos x="204" y="647"/>
                  </a:cxn>
                  <a:cxn ang="0">
                    <a:pos x="231" y="690"/>
                  </a:cxn>
                  <a:cxn ang="0">
                    <a:pos x="245" y="700"/>
                  </a:cxn>
                  <a:cxn ang="0">
                    <a:pos x="259" y="715"/>
                  </a:cxn>
                  <a:cxn ang="0">
                    <a:pos x="265" y="678"/>
                  </a:cxn>
                  <a:cxn ang="0">
                    <a:pos x="308" y="696"/>
                  </a:cxn>
                  <a:cxn ang="0">
                    <a:pos x="328" y="713"/>
                  </a:cxn>
                  <a:cxn ang="0">
                    <a:pos x="372" y="726"/>
                  </a:cxn>
                  <a:cxn ang="0">
                    <a:pos x="407" y="723"/>
                  </a:cxn>
                  <a:cxn ang="0">
                    <a:pos x="429" y="710"/>
                  </a:cxn>
                  <a:cxn ang="0">
                    <a:pos x="452" y="675"/>
                  </a:cxn>
                  <a:cxn ang="0">
                    <a:pos x="463" y="529"/>
                  </a:cxn>
                  <a:cxn ang="0">
                    <a:pos x="465" y="480"/>
                  </a:cxn>
                  <a:cxn ang="0">
                    <a:pos x="471" y="469"/>
                  </a:cxn>
                  <a:cxn ang="0">
                    <a:pos x="463" y="426"/>
                  </a:cxn>
                  <a:cxn ang="0">
                    <a:pos x="469" y="368"/>
                  </a:cxn>
                  <a:cxn ang="0">
                    <a:pos x="500" y="330"/>
                  </a:cxn>
                  <a:cxn ang="0">
                    <a:pos x="525" y="320"/>
                  </a:cxn>
                  <a:cxn ang="0">
                    <a:pos x="538" y="232"/>
                  </a:cxn>
                  <a:cxn ang="0">
                    <a:pos x="551" y="148"/>
                  </a:cxn>
                  <a:cxn ang="0">
                    <a:pos x="541" y="124"/>
                  </a:cxn>
                  <a:cxn ang="0">
                    <a:pos x="531" y="99"/>
                  </a:cxn>
                  <a:cxn ang="0">
                    <a:pos x="539" y="86"/>
                  </a:cxn>
                  <a:cxn ang="0">
                    <a:pos x="617" y="80"/>
                  </a:cxn>
                  <a:cxn ang="0">
                    <a:pos x="708" y="63"/>
                  </a:cxn>
                  <a:cxn ang="0">
                    <a:pos x="803" y="61"/>
                  </a:cxn>
                </a:cxnLst>
                <a:rect l="0" t="0" r="r" b="b"/>
                <a:pathLst>
                  <a:path w="810" h="727">
                    <a:moveTo>
                      <a:pt x="810" y="61"/>
                    </a:moveTo>
                    <a:lnTo>
                      <a:pt x="807" y="54"/>
                    </a:lnTo>
                    <a:lnTo>
                      <a:pt x="802" y="48"/>
                    </a:lnTo>
                    <a:lnTo>
                      <a:pt x="797" y="42"/>
                    </a:lnTo>
                    <a:lnTo>
                      <a:pt x="790" y="36"/>
                    </a:lnTo>
                    <a:lnTo>
                      <a:pt x="784" y="32"/>
                    </a:lnTo>
                    <a:lnTo>
                      <a:pt x="775" y="28"/>
                    </a:lnTo>
                    <a:lnTo>
                      <a:pt x="766" y="26"/>
                    </a:lnTo>
                    <a:lnTo>
                      <a:pt x="756" y="25"/>
                    </a:lnTo>
                    <a:lnTo>
                      <a:pt x="743" y="26"/>
                    </a:lnTo>
                    <a:lnTo>
                      <a:pt x="730" y="29"/>
                    </a:lnTo>
                    <a:lnTo>
                      <a:pt x="718" y="33"/>
                    </a:lnTo>
                    <a:lnTo>
                      <a:pt x="703" y="37"/>
                    </a:lnTo>
                    <a:lnTo>
                      <a:pt x="671" y="37"/>
                    </a:lnTo>
                    <a:lnTo>
                      <a:pt x="651" y="41"/>
                    </a:lnTo>
                    <a:lnTo>
                      <a:pt x="634" y="44"/>
                    </a:lnTo>
                    <a:lnTo>
                      <a:pt x="627" y="46"/>
                    </a:lnTo>
                    <a:lnTo>
                      <a:pt x="619" y="48"/>
                    </a:lnTo>
                    <a:lnTo>
                      <a:pt x="611" y="51"/>
                    </a:lnTo>
                    <a:lnTo>
                      <a:pt x="604" y="55"/>
                    </a:lnTo>
                    <a:lnTo>
                      <a:pt x="411" y="55"/>
                    </a:lnTo>
                    <a:lnTo>
                      <a:pt x="411" y="37"/>
                    </a:lnTo>
                    <a:lnTo>
                      <a:pt x="292" y="37"/>
                    </a:lnTo>
                    <a:lnTo>
                      <a:pt x="280" y="40"/>
                    </a:lnTo>
                    <a:lnTo>
                      <a:pt x="269" y="41"/>
                    </a:lnTo>
                    <a:lnTo>
                      <a:pt x="257" y="40"/>
                    </a:lnTo>
                    <a:lnTo>
                      <a:pt x="245" y="39"/>
                    </a:lnTo>
                    <a:lnTo>
                      <a:pt x="232" y="37"/>
                    </a:lnTo>
                    <a:lnTo>
                      <a:pt x="220" y="34"/>
                    </a:lnTo>
                    <a:lnTo>
                      <a:pt x="208" y="30"/>
                    </a:lnTo>
                    <a:lnTo>
                      <a:pt x="196" y="26"/>
                    </a:lnTo>
                    <a:lnTo>
                      <a:pt x="172" y="17"/>
                    </a:lnTo>
                    <a:lnTo>
                      <a:pt x="149" y="8"/>
                    </a:lnTo>
                    <a:lnTo>
                      <a:pt x="137" y="5"/>
                    </a:lnTo>
                    <a:lnTo>
                      <a:pt x="126" y="2"/>
                    </a:lnTo>
                    <a:lnTo>
                      <a:pt x="116" y="0"/>
                    </a:lnTo>
                    <a:lnTo>
                      <a:pt x="105" y="0"/>
                    </a:lnTo>
                    <a:lnTo>
                      <a:pt x="97" y="0"/>
                    </a:lnTo>
                    <a:lnTo>
                      <a:pt x="91" y="2"/>
                    </a:lnTo>
                    <a:lnTo>
                      <a:pt x="83" y="5"/>
                    </a:lnTo>
                    <a:lnTo>
                      <a:pt x="75" y="8"/>
                    </a:lnTo>
                    <a:lnTo>
                      <a:pt x="68" y="13"/>
                    </a:lnTo>
                    <a:lnTo>
                      <a:pt x="60" y="19"/>
                    </a:lnTo>
                    <a:lnTo>
                      <a:pt x="53" y="24"/>
                    </a:lnTo>
                    <a:lnTo>
                      <a:pt x="46" y="31"/>
                    </a:lnTo>
                    <a:lnTo>
                      <a:pt x="6" y="31"/>
                    </a:lnTo>
                    <a:lnTo>
                      <a:pt x="3" y="45"/>
                    </a:lnTo>
                    <a:lnTo>
                      <a:pt x="0" y="55"/>
                    </a:lnTo>
                    <a:lnTo>
                      <a:pt x="0" y="58"/>
                    </a:lnTo>
                    <a:lnTo>
                      <a:pt x="2" y="61"/>
                    </a:lnTo>
                    <a:lnTo>
                      <a:pt x="4" y="64"/>
                    </a:lnTo>
                    <a:lnTo>
                      <a:pt x="7" y="68"/>
                    </a:lnTo>
                    <a:lnTo>
                      <a:pt x="12" y="70"/>
                    </a:lnTo>
                    <a:lnTo>
                      <a:pt x="16" y="72"/>
                    </a:lnTo>
                    <a:lnTo>
                      <a:pt x="21" y="74"/>
                    </a:lnTo>
                    <a:lnTo>
                      <a:pt x="26" y="74"/>
                    </a:lnTo>
                    <a:lnTo>
                      <a:pt x="26" y="86"/>
                    </a:lnTo>
                    <a:lnTo>
                      <a:pt x="28" y="99"/>
                    </a:lnTo>
                    <a:lnTo>
                      <a:pt x="32" y="113"/>
                    </a:lnTo>
                    <a:lnTo>
                      <a:pt x="36" y="129"/>
                    </a:lnTo>
                    <a:lnTo>
                      <a:pt x="40" y="144"/>
                    </a:lnTo>
                    <a:lnTo>
                      <a:pt x="47" y="160"/>
                    </a:lnTo>
                    <a:lnTo>
                      <a:pt x="53" y="175"/>
                    </a:lnTo>
                    <a:lnTo>
                      <a:pt x="60" y="192"/>
                    </a:lnTo>
                    <a:lnTo>
                      <a:pt x="77" y="223"/>
                    </a:lnTo>
                    <a:lnTo>
                      <a:pt x="93" y="252"/>
                    </a:lnTo>
                    <a:lnTo>
                      <a:pt x="102" y="265"/>
                    </a:lnTo>
                    <a:lnTo>
                      <a:pt x="109" y="276"/>
                    </a:lnTo>
                    <a:lnTo>
                      <a:pt x="117" y="286"/>
                    </a:lnTo>
                    <a:lnTo>
                      <a:pt x="125" y="296"/>
                    </a:lnTo>
                    <a:lnTo>
                      <a:pt x="128" y="298"/>
                    </a:lnTo>
                    <a:lnTo>
                      <a:pt x="133" y="300"/>
                    </a:lnTo>
                    <a:lnTo>
                      <a:pt x="137" y="301"/>
                    </a:lnTo>
                    <a:lnTo>
                      <a:pt x="142" y="301"/>
                    </a:lnTo>
                    <a:lnTo>
                      <a:pt x="151" y="302"/>
                    </a:lnTo>
                    <a:lnTo>
                      <a:pt x="159" y="302"/>
                    </a:lnTo>
                    <a:lnTo>
                      <a:pt x="159" y="309"/>
                    </a:lnTo>
                    <a:lnTo>
                      <a:pt x="159" y="317"/>
                    </a:lnTo>
                    <a:lnTo>
                      <a:pt x="159" y="326"/>
                    </a:lnTo>
                    <a:lnTo>
                      <a:pt x="159" y="332"/>
                    </a:lnTo>
                    <a:lnTo>
                      <a:pt x="158" y="339"/>
                    </a:lnTo>
                    <a:lnTo>
                      <a:pt x="157" y="346"/>
                    </a:lnTo>
                    <a:lnTo>
                      <a:pt x="154" y="353"/>
                    </a:lnTo>
                    <a:lnTo>
                      <a:pt x="152" y="359"/>
                    </a:lnTo>
                    <a:lnTo>
                      <a:pt x="149" y="366"/>
                    </a:lnTo>
                    <a:lnTo>
                      <a:pt x="147" y="374"/>
                    </a:lnTo>
                    <a:lnTo>
                      <a:pt x="146" y="383"/>
                    </a:lnTo>
                    <a:lnTo>
                      <a:pt x="146" y="394"/>
                    </a:lnTo>
                    <a:lnTo>
                      <a:pt x="146" y="403"/>
                    </a:lnTo>
                    <a:lnTo>
                      <a:pt x="147" y="410"/>
                    </a:lnTo>
                    <a:lnTo>
                      <a:pt x="148" y="418"/>
                    </a:lnTo>
                    <a:lnTo>
                      <a:pt x="150" y="425"/>
                    </a:lnTo>
                    <a:lnTo>
                      <a:pt x="156" y="439"/>
                    </a:lnTo>
                    <a:lnTo>
                      <a:pt x="162" y="453"/>
                    </a:lnTo>
                    <a:lnTo>
                      <a:pt x="168" y="469"/>
                    </a:lnTo>
                    <a:lnTo>
                      <a:pt x="173" y="484"/>
                    </a:lnTo>
                    <a:lnTo>
                      <a:pt x="175" y="491"/>
                    </a:lnTo>
                    <a:lnTo>
                      <a:pt x="178" y="500"/>
                    </a:lnTo>
                    <a:lnTo>
                      <a:pt x="179" y="508"/>
                    </a:lnTo>
                    <a:lnTo>
                      <a:pt x="179" y="518"/>
                    </a:lnTo>
                    <a:lnTo>
                      <a:pt x="179" y="542"/>
                    </a:lnTo>
                    <a:lnTo>
                      <a:pt x="180" y="564"/>
                    </a:lnTo>
                    <a:lnTo>
                      <a:pt x="183" y="586"/>
                    </a:lnTo>
                    <a:lnTo>
                      <a:pt x="187" y="606"/>
                    </a:lnTo>
                    <a:lnTo>
                      <a:pt x="191" y="616"/>
                    </a:lnTo>
                    <a:lnTo>
                      <a:pt x="194" y="627"/>
                    </a:lnTo>
                    <a:lnTo>
                      <a:pt x="198" y="637"/>
                    </a:lnTo>
                    <a:lnTo>
                      <a:pt x="204" y="647"/>
                    </a:lnTo>
                    <a:lnTo>
                      <a:pt x="209" y="657"/>
                    </a:lnTo>
                    <a:lnTo>
                      <a:pt x="216" y="667"/>
                    </a:lnTo>
                    <a:lnTo>
                      <a:pt x="224" y="679"/>
                    </a:lnTo>
                    <a:lnTo>
                      <a:pt x="231" y="690"/>
                    </a:lnTo>
                    <a:lnTo>
                      <a:pt x="235" y="696"/>
                    </a:lnTo>
                    <a:lnTo>
                      <a:pt x="238" y="698"/>
                    </a:lnTo>
                    <a:lnTo>
                      <a:pt x="241" y="700"/>
                    </a:lnTo>
                    <a:lnTo>
                      <a:pt x="245" y="700"/>
                    </a:lnTo>
                    <a:lnTo>
                      <a:pt x="249" y="701"/>
                    </a:lnTo>
                    <a:lnTo>
                      <a:pt x="252" y="703"/>
                    </a:lnTo>
                    <a:lnTo>
                      <a:pt x="256" y="707"/>
                    </a:lnTo>
                    <a:lnTo>
                      <a:pt x="259" y="715"/>
                    </a:lnTo>
                    <a:lnTo>
                      <a:pt x="259" y="708"/>
                    </a:lnTo>
                    <a:lnTo>
                      <a:pt x="262" y="699"/>
                    </a:lnTo>
                    <a:lnTo>
                      <a:pt x="264" y="688"/>
                    </a:lnTo>
                    <a:lnTo>
                      <a:pt x="265" y="678"/>
                    </a:lnTo>
                    <a:lnTo>
                      <a:pt x="298" y="678"/>
                    </a:lnTo>
                    <a:lnTo>
                      <a:pt x="301" y="685"/>
                    </a:lnTo>
                    <a:lnTo>
                      <a:pt x="304" y="691"/>
                    </a:lnTo>
                    <a:lnTo>
                      <a:pt x="308" y="696"/>
                    </a:lnTo>
                    <a:lnTo>
                      <a:pt x="313" y="701"/>
                    </a:lnTo>
                    <a:lnTo>
                      <a:pt x="317" y="706"/>
                    </a:lnTo>
                    <a:lnTo>
                      <a:pt x="322" y="710"/>
                    </a:lnTo>
                    <a:lnTo>
                      <a:pt x="328" y="713"/>
                    </a:lnTo>
                    <a:lnTo>
                      <a:pt x="333" y="716"/>
                    </a:lnTo>
                    <a:lnTo>
                      <a:pt x="346" y="721"/>
                    </a:lnTo>
                    <a:lnTo>
                      <a:pt x="359" y="724"/>
                    </a:lnTo>
                    <a:lnTo>
                      <a:pt x="372" y="726"/>
                    </a:lnTo>
                    <a:lnTo>
                      <a:pt x="384" y="727"/>
                    </a:lnTo>
                    <a:lnTo>
                      <a:pt x="393" y="726"/>
                    </a:lnTo>
                    <a:lnTo>
                      <a:pt x="400" y="725"/>
                    </a:lnTo>
                    <a:lnTo>
                      <a:pt x="407" y="723"/>
                    </a:lnTo>
                    <a:lnTo>
                      <a:pt x="414" y="721"/>
                    </a:lnTo>
                    <a:lnTo>
                      <a:pt x="419" y="718"/>
                    </a:lnTo>
                    <a:lnTo>
                      <a:pt x="425" y="714"/>
                    </a:lnTo>
                    <a:lnTo>
                      <a:pt x="429" y="710"/>
                    </a:lnTo>
                    <a:lnTo>
                      <a:pt x="433" y="706"/>
                    </a:lnTo>
                    <a:lnTo>
                      <a:pt x="441" y="696"/>
                    </a:lnTo>
                    <a:lnTo>
                      <a:pt x="447" y="686"/>
                    </a:lnTo>
                    <a:lnTo>
                      <a:pt x="452" y="675"/>
                    </a:lnTo>
                    <a:lnTo>
                      <a:pt x="458" y="665"/>
                    </a:lnTo>
                    <a:lnTo>
                      <a:pt x="458" y="554"/>
                    </a:lnTo>
                    <a:lnTo>
                      <a:pt x="462" y="542"/>
                    </a:lnTo>
                    <a:lnTo>
                      <a:pt x="463" y="529"/>
                    </a:lnTo>
                    <a:lnTo>
                      <a:pt x="464" y="516"/>
                    </a:lnTo>
                    <a:lnTo>
                      <a:pt x="464" y="502"/>
                    </a:lnTo>
                    <a:lnTo>
                      <a:pt x="464" y="490"/>
                    </a:lnTo>
                    <a:lnTo>
                      <a:pt x="465" y="480"/>
                    </a:lnTo>
                    <a:lnTo>
                      <a:pt x="466" y="476"/>
                    </a:lnTo>
                    <a:lnTo>
                      <a:pt x="467" y="473"/>
                    </a:lnTo>
                    <a:lnTo>
                      <a:pt x="469" y="470"/>
                    </a:lnTo>
                    <a:lnTo>
                      <a:pt x="471" y="469"/>
                    </a:lnTo>
                    <a:lnTo>
                      <a:pt x="466" y="456"/>
                    </a:lnTo>
                    <a:lnTo>
                      <a:pt x="464" y="444"/>
                    </a:lnTo>
                    <a:lnTo>
                      <a:pt x="463" y="435"/>
                    </a:lnTo>
                    <a:lnTo>
                      <a:pt x="463" y="426"/>
                    </a:lnTo>
                    <a:lnTo>
                      <a:pt x="463" y="409"/>
                    </a:lnTo>
                    <a:lnTo>
                      <a:pt x="464" y="388"/>
                    </a:lnTo>
                    <a:lnTo>
                      <a:pt x="465" y="378"/>
                    </a:lnTo>
                    <a:lnTo>
                      <a:pt x="469" y="368"/>
                    </a:lnTo>
                    <a:lnTo>
                      <a:pt x="474" y="358"/>
                    </a:lnTo>
                    <a:lnTo>
                      <a:pt x="482" y="348"/>
                    </a:lnTo>
                    <a:lnTo>
                      <a:pt x="490" y="338"/>
                    </a:lnTo>
                    <a:lnTo>
                      <a:pt x="500" y="330"/>
                    </a:lnTo>
                    <a:lnTo>
                      <a:pt x="506" y="327"/>
                    </a:lnTo>
                    <a:lnTo>
                      <a:pt x="511" y="324"/>
                    </a:lnTo>
                    <a:lnTo>
                      <a:pt x="518" y="322"/>
                    </a:lnTo>
                    <a:lnTo>
                      <a:pt x="525" y="320"/>
                    </a:lnTo>
                    <a:lnTo>
                      <a:pt x="526" y="298"/>
                    </a:lnTo>
                    <a:lnTo>
                      <a:pt x="528" y="275"/>
                    </a:lnTo>
                    <a:lnTo>
                      <a:pt x="532" y="254"/>
                    </a:lnTo>
                    <a:lnTo>
                      <a:pt x="538" y="232"/>
                    </a:lnTo>
                    <a:lnTo>
                      <a:pt x="542" y="211"/>
                    </a:lnTo>
                    <a:lnTo>
                      <a:pt x="546" y="190"/>
                    </a:lnTo>
                    <a:lnTo>
                      <a:pt x="550" y="168"/>
                    </a:lnTo>
                    <a:lnTo>
                      <a:pt x="551" y="148"/>
                    </a:lnTo>
                    <a:lnTo>
                      <a:pt x="550" y="141"/>
                    </a:lnTo>
                    <a:lnTo>
                      <a:pt x="548" y="135"/>
                    </a:lnTo>
                    <a:lnTo>
                      <a:pt x="544" y="129"/>
                    </a:lnTo>
                    <a:lnTo>
                      <a:pt x="541" y="124"/>
                    </a:lnTo>
                    <a:lnTo>
                      <a:pt x="537" y="117"/>
                    </a:lnTo>
                    <a:lnTo>
                      <a:pt x="533" y="111"/>
                    </a:lnTo>
                    <a:lnTo>
                      <a:pt x="531" y="105"/>
                    </a:lnTo>
                    <a:lnTo>
                      <a:pt x="531" y="99"/>
                    </a:lnTo>
                    <a:lnTo>
                      <a:pt x="531" y="94"/>
                    </a:lnTo>
                    <a:lnTo>
                      <a:pt x="532" y="91"/>
                    </a:lnTo>
                    <a:lnTo>
                      <a:pt x="535" y="88"/>
                    </a:lnTo>
                    <a:lnTo>
                      <a:pt x="539" y="86"/>
                    </a:lnTo>
                    <a:lnTo>
                      <a:pt x="548" y="84"/>
                    </a:lnTo>
                    <a:lnTo>
                      <a:pt x="559" y="83"/>
                    </a:lnTo>
                    <a:lnTo>
                      <a:pt x="587" y="82"/>
                    </a:lnTo>
                    <a:lnTo>
                      <a:pt x="617" y="80"/>
                    </a:lnTo>
                    <a:lnTo>
                      <a:pt x="640" y="74"/>
                    </a:lnTo>
                    <a:lnTo>
                      <a:pt x="662" y="70"/>
                    </a:lnTo>
                    <a:lnTo>
                      <a:pt x="685" y="67"/>
                    </a:lnTo>
                    <a:lnTo>
                      <a:pt x="708" y="63"/>
                    </a:lnTo>
                    <a:lnTo>
                      <a:pt x="731" y="62"/>
                    </a:lnTo>
                    <a:lnTo>
                      <a:pt x="754" y="61"/>
                    </a:lnTo>
                    <a:lnTo>
                      <a:pt x="778" y="61"/>
                    </a:lnTo>
                    <a:lnTo>
                      <a:pt x="803" y="61"/>
                    </a:lnTo>
                    <a:lnTo>
                      <a:pt x="810" y="61"/>
                    </a:lnTo>
                  </a:path>
                </a:pathLst>
              </a:custGeom>
              <a:solidFill>
                <a:schemeClr val="accent1">
                  <a:alpha val="50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64" name="Freeform 479"/>
              <p:cNvSpPr>
                <a:spLocks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2444256" y="2921630"/>
                <a:ext cx="340670" cy="251326"/>
              </a:xfrm>
              <a:custGeom>
                <a:avLst/>
                <a:gdLst/>
                <a:ahLst/>
                <a:cxnLst>
                  <a:cxn ang="0">
                    <a:pos x="203" y="250"/>
                  </a:cxn>
                  <a:cxn ang="0">
                    <a:pos x="163" y="246"/>
                  </a:cxn>
                  <a:cxn ang="0">
                    <a:pos x="121" y="247"/>
                  </a:cxn>
                  <a:cxn ang="0">
                    <a:pos x="92" y="250"/>
                  </a:cxn>
                  <a:cxn ang="0">
                    <a:pos x="74" y="255"/>
                  </a:cxn>
                  <a:cxn ang="0">
                    <a:pos x="26" y="271"/>
                  </a:cxn>
                  <a:cxn ang="0">
                    <a:pos x="20" y="270"/>
                  </a:cxn>
                  <a:cxn ang="0">
                    <a:pos x="17" y="266"/>
                  </a:cxn>
                  <a:cxn ang="0">
                    <a:pos x="18" y="254"/>
                  </a:cxn>
                  <a:cxn ang="0">
                    <a:pos x="26" y="228"/>
                  </a:cxn>
                  <a:cxn ang="0">
                    <a:pos x="61" y="226"/>
                  </a:cxn>
                  <a:cxn ang="0">
                    <a:pos x="89" y="222"/>
                  </a:cxn>
                  <a:cxn ang="0">
                    <a:pos x="115" y="218"/>
                  </a:cxn>
                  <a:cxn ang="0">
                    <a:pos x="146" y="216"/>
                  </a:cxn>
                  <a:cxn ang="0">
                    <a:pos x="182" y="218"/>
                  </a:cxn>
                  <a:cxn ang="0">
                    <a:pos x="199" y="218"/>
                  </a:cxn>
                  <a:cxn ang="0">
                    <a:pos x="219" y="216"/>
                  </a:cxn>
                  <a:cxn ang="0">
                    <a:pos x="215" y="208"/>
                  </a:cxn>
                  <a:cxn ang="0">
                    <a:pos x="210" y="201"/>
                  </a:cxn>
                  <a:cxn ang="0">
                    <a:pos x="195" y="194"/>
                  </a:cxn>
                  <a:cxn ang="0">
                    <a:pos x="175" y="191"/>
                  </a:cxn>
                  <a:cxn ang="0">
                    <a:pos x="152" y="190"/>
                  </a:cxn>
                  <a:cxn ang="0">
                    <a:pos x="93" y="192"/>
                  </a:cxn>
                  <a:cxn ang="0">
                    <a:pos x="64" y="196"/>
                  </a:cxn>
                  <a:cxn ang="0">
                    <a:pos x="33" y="203"/>
                  </a:cxn>
                  <a:cxn ang="0">
                    <a:pos x="38" y="183"/>
                  </a:cxn>
                  <a:cxn ang="0">
                    <a:pos x="39" y="172"/>
                  </a:cxn>
                  <a:cxn ang="0">
                    <a:pos x="26" y="164"/>
                  </a:cxn>
                  <a:cxn ang="0">
                    <a:pos x="13" y="160"/>
                  </a:cxn>
                  <a:cxn ang="0">
                    <a:pos x="11" y="147"/>
                  </a:cxn>
                  <a:cxn ang="0">
                    <a:pos x="6" y="143"/>
                  </a:cxn>
                  <a:cxn ang="0">
                    <a:pos x="2" y="141"/>
                  </a:cxn>
                  <a:cxn ang="0">
                    <a:pos x="0" y="135"/>
                  </a:cxn>
                  <a:cxn ang="0">
                    <a:pos x="5" y="115"/>
                  </a:cxn>
                  <a:cxn ang="0">
                    <a:pos x="17" y="92"/>
                  </a:cxn>
                  <a:cxn ang="0">
                    <a:pos x="30" y="69"/>
                  </a:cxn>
                  <a:cxn ang="0">
                    <a:pos x="39" y="49"/>
                  </a:cxn>
                  <a:cxn ang="0">
                    <a:pos x="48" y="42"/>
                  </a:cxn>
                  <a:cxn ang="0">
                    <a:pos x="49" y="48"/>
                  </a:cxn>
                  <a:cxn ang="0">
                    <a:pos x="52" y="36"/>
                  </a:cxn>
                  <a:cxn ang="0">
                    <a:pos x="75" y="31"/>
                  </a:cxn>
                  <a:cxn ang="0">
                    <a:pos x="114" y="18"/>
                  </a:cxn>
                  <a:cxn ang="0">
                    <a:pos x="165" y="0"/>
                  </a:cxn>
                  <a:cxn ang="0">
                    <a:pos x="184" y="15"/>
                  </a:cxn>
                  <a:cxn ang="0">
                    <a:pos x="202" y="24"/>
                  </a:cxn>
                  <a:cxn ang="0">
                    <a:pos x="220" y="29"/>
                  </a:cxn>
                  <a:cxn ang="0">
                    <a:pos x="239" y="30"/>
                  </a:cxn>
                  <a:cxn ang="0">
                    <a:pos x="241" y="52"/>
                  </a:cxn>
                  <a:cxn ang="0">
                    <a:pos x="247" y="69"/>
                  </a:cxn>
                  <a:cxn ang="0">
                    <a:pos x="254" y="84"/>
                  </a:cxn>
                  <a:cxn ang="0">
                    <a:pos x="264" y="95"/>
                  </a:cxn>
                  <a:cxn ang="0">
                    <a:pos x="305" y="129"/>
                  </a:cxn>
                  <a:cxn ang="0">
                    <a:pos x="352" y="234"/>
                  </a:cxn>
                  <a:cxn ang="0">
                    <a:pos x="359" y="257"/>
                  </a:cxn>
                  <a:cxn ang="0">
                    <a:pos x="365" y="271"/>
                  </a:cxn>
                  <a:cxn ang="0">
                    <a:pos x="321" y="259"/>
                  </a:cxn>
                  <a:cxn ang="0">
                    <a:pos x="275" y="252"/>
                  </a:cxn>
                  <a:cxn ang="0">
                    <a:pos x="248" y="251"/>
                  </a:cxn>
                  <a:cxn ang="0">
                    <a:pos x="219" y="252"/>
                  </a:cxn>
                </a:cxnLst>
                <a:rect l="0" t="0" r="r" b="b"/>
                <a:pathLst>
                  <a:path w="365" h="271">
                    <a:moveTo>
                      <a:pt x="219" y="252"/>
                    </a:moveTo>
                    <a:lnTo>
                      <a:pt x="203" y="250"/>
                    </a:lnTo>
                    <a:lnTo>
                      <a:pt x="184" y="248"/>
                    </a:lnTo>
                    <a:lnTo>
                      <a:pt x="163" y="246"/>
                    </a:lnTo>
                    <a:lnTo>
                      <a:pt x="142" y="246"/>
                    </a:lnTo>
                    <a:lnTo>
                      <a:pt x="121" y="247"/>
                    </a:lnTo>
                    <a:lnTo>
                      <a:pt x="101" y="249"/>
                    </a:lnTo>
                    <a:lnTo>
                      <a:pt x="92" y="250"/>
                    </a:lnTo>
                    <a:lnTo>
                      <a:pt x="82" y="252"/>
                    </a:lnTo>
                    <a:lnTo>
                      <a:pt x="74" y="255"/>
                    </a:lnTo>
                    <a:lnTo>
                      <a:pt x="65" y="258"/>
                    </a:lnTo>
                    <a:lnTo>
                      <a:pt x="26" y="271"/>
                    </a:lnTo>
                    <a:lnTo>
                      <a:pt x="23" y="271"/>
                    </a:lnTo>
                    <a:lnTo>
                      <a:pt x="20" y="270"/>
                    </a:lnTo>
                    <a:lnTo>
                      <a:pt x="18" y="268"/>
                    </a:lnTo>
                    <a:lnTo>
                      <a:pt x="17" y="266"/>
                    </a:lnTo>
                    <a:lnTo>
                      <a:pt x="17" y="260"/>
                    </a:lnTo>
                    <a:lnTo>
                      <a:pt x="18" y="254"/>
                    </a:lnTo>
                    <a:lnTo>
                      <a:pt x="24" y="240"/>
                    </a:lnTo>
                    <a:lnTo>
                      <a:pt x="26" y="228"/>
                    </a:lnTo>
                    <a:lnTo>
                      <a:pt x="45" y="227"/>
                    </a:lnTo>
                    <a:lnTo>
                      <a:pt x="61" y="226"/>
                    </a:lnTo>
                    <a:lnTo>
                      <a:pt x="75" y="224"/>
                    </a:lnTo>
                    <a:lnTo>
                      <a:pt x="89" y="222"/>
                    </a:lnTo>
                    <a:lnTo>
                      <a:pt x="102" y="220"/>
                    </a:lnTo>
                    <a:lnTo>
                      <a:pt x="115" y="218"/>
                    </a:lnTo>
                    <a:lnTo>
                      <a:pt x="129" y="216"/>
                    </a:lnTo>
                    <a:lnTo>
                      <a:pt x="146" y="216"/>
                    </a:lnTo>
                    <a:lnTo>
                      <a:pt x="164" y="217"/>
                    </a:lnTo>
                    <a:lnTo>
                      <a:pt x="182" y="218"/>
                    </a:lnTo>
                    <a:lnTo>
                      <a:pt x="191" y="218"/>
                    </a:lnTo>
                    <a:lnTo>
                      <a:pt x="199" y="218"/>
                    </a:lnTo>
                    <a:lnTo>
                      <a:pt x="209" y="217"/>
                    </a:lnTo>
                    <a:lnTo>
                      <a:pt x="219" y="216"/>
                    </a:lnTo>
                    <a:lnTo>
                      <a:pt x="217" y="211"/>
                    </a:lnTo>
                    <a:lnTo>
                      <a:pt x="215" y="208"/>
                    </a:lnTo>
                    <a:lnTo>
                      <a:pt x="213" y="203"/>
                    </a:lnTo>
                    <a:lnTo>
                      <a:pt x="210" y="201"/>
                    </a:lnTo>
                    <a:lnTo>
                      <a:pt x="204" y="196"/>
                    </a:lnTo>
                    <a:lnTo>
                      <a:pt x="195" y="194"/>
                    </a:lnTo>
                    <a:lnTo>
                      <a:pt x="186" y="192"/>
                    </a:lnTo>
                    <a:lnTo>
                      <a:pt x="175" y="191"/>
                    </a:lnTo>
                    <a:lnTo>
                      <a:pt x="164" y="191"/>
                    </a:lnTo>
                    <a:lnTo>
                      <a:pt x="152" y="190"/>
                    </a:lnTo>
                    <a:lnTo>
                      <a:pt x="120" y="191"/>
                    </a:lnTo>
                    <a:lnTo>
                      <a:pt x="93" y="192"/>
                    </a:lnTo>
                    <a:lnTo>
                      <a:pt x="79" y="193"/>
                    </a:lnTo>
                    <a:lnTo>
                      <a:pt x="64" y="196"/>
                    </a:lnTo>
                    <a:lnTo>
                      <a:pt x="49" y="199"/>
                    </a:lnTo>
                    <a:lnTo>
                      <a:pt x="33" y="203"/>
                    </a:lnTo>
                    <a:lnTo>
                      <a:pt x="37" y="191"/>
                    </a:lnTo>
                    <a:lnTo>
                      <a:pt x="38" y="183"/>
                    </a:lnTo>
                    <a:lnTo>
                      <a:pt x="39" y="177"/>
                    </a:lnTo>
                    <a:lnTo>
                      <a:pt x="39" y="172"/>
                    </a:lnTo>
                    <a:lnTo>
                      <a:pt x="34" y="168"/>
                    </a:lnTo>
                    <a:lnTo>
                      <a:pt x="26" y="164"/>
                    </a:lnTo>
                    <a:lnTo>
                      <a:pt x="18" y="161"/>
                    </a:lnTo>
                    <a:lnTo>
                      <a:pt x="13" y="160"/>
                    </a:lnTo>
                    <a:lnTo>
                      <a:pt x="13" y="153"/>
                    </a:lnTo>
                    <a:lnTo>
                      <a:pt x="11" y="147"/>
                    </a:lnTo>
                    <a:lnTo>
                      <a:pt x="8" y="144"/>
                    </a:lnTo>
                    <a:lnTo>
                      <a:pt x="6" y="143"/>
                    </a:lnTo>
                    <a:lnTo>
                      <a:pt x="4" y="142"/>
                    </a:lnTo>
                    <a:lnTo>
                      <a:pt x="2" y="141"/>
                    </a:lnTo>
                    <a:lnTo>
                      <a:pt x="0" y="139"/>
                    </a:lnTo>
                    <a:lnTo>
                      <a:pt x="0" y="135"/>
                    </a:lnTo>
                    <a:lnTo>
                      <a:pt x="1" y="125"/>
                    </a:lnTo>
                    <a:lnTo>
                      <a:pt x="5" y="115"/>
                    </a:lnTo>
                    <a:lnTo>
                      <a:pt x="11" y="104"/>
                    </a:lnTo>
                    <a:lnTo>
                      <a:pt x="17" y="92"/>
                    </a:lnTo>
                    <a:lnTo>
                      <a:pt x="24" y="80"/>
                    </a:lnTo>
                    <a:lnTo>
                      <a:pt x="30" y="69"/>
                    </a:lnTo>
                    <a:lnTo>
                      <a:pt x="36" y="59"/>
                    </a:lnTo>
                    <a:lnTo>
                      <a:pt x="39" y="49"/>
                    </a:lnTo>
                    <a:lnTo>
                      <a:pt x="45" y="43"/>
                    </a:lnTo>
                    <a:lnTo>
                      <a:pt x="48" y="42"/>
                    </a:lnTo>
                    <a:lnTo>
                      <a:pt x="49" y="44"/>
                    </a:lnTo>
                    <a:lnTo>
                      <a:pt x="49" y="48"/>
                    </a:lnTo>
                    <a:lnTo>
                      <a:pt x="48" y="51"/>
                    </a:lnTo>
                    <a:lnTo>
                      <a:pt x="52" y="36"/>
                    </a:lnTo>
                    <a:lnTo>
                      <a:pt x="61" y="35"/>
                    </a:lnTo>
                    <a:lnTo>
                      <a:pt x="75" y="31"/>
                    </a:lnTo>
                    <a:lnTo>
                      <a:pt x="94" y="25"/>
                    </a:lnTo>
                    <a:lnTo>
                      <a:pt x="114" y="18"/>
                    </a:lnTo>
                    <a:lnTo>
                      <a:pt x="150" y="6"/>
                    </a:lnTo>
                    <a:lnTo>
                      <a:pt x="165" y="0"/>
                    </a:lnTo>
                    <a:lnTo>
                      <a:pt x="175" y="8"/>
                    </a:lnTo>
                    <a:lnTo>
                      <a:pt x="184" y="15"/>
                    </a:lnTo>
                    <a:lnTo>
                      <a:pt x="194" y="20"/>
                    </a:lnTo>
                    <a:lnTo>
                      <a:pt x="202" y="24"/>
                    </a:lnTo>
                    <a:lnTo>
                      <a:pt x="210" y="27"/>
                    </a:lnTo>
                    <a:lnTo>
                      <a:pt x="220" y="29"/>
                    </a:lnTo>
                    <a:lnTo>
                      <a:pt x="229" y="30"/>
                    </a:lnTo>
                    <a:lnTo>
                      <a:pt x="239" y="30"/>
                    </a:lnTo>
                    <a:lnTo>
                      <a:pt x="239" y="42"/>
                    </a:lnTo>
                    <a:lnTo>
                      <a:pt x="241" y="52"/>
                    </a:lnTo>
                    <a:lnTo>
                      <a:pt x="243" y="61"/>
                    </a:lnTo>
                    <a:lnTo>
                      <a:pt x="247" y="69"/>
                    </a:lnTo>
                    <a:lnTo>
                      <a:pt x="250" y="77"/>
                    </a:lnTo>
                    <a:lnTo>
                      <a:pt x="254" y="84"/>
                    </a:lnTo>
                    <a:lnTo>
                      <a:pt x="259" y="90"/>
                    </a:lnTo>
                    <a:lnTo>
                      <a:pt x="264" y="95"/>
                    </a:lnTo>
                    <a:lnTo>
                      <a:pt x="286" y="115"/>
                    </a:lnTo>
                    <a:lnTo>
                      <a:pt x="305" y="129"/>
                    </a:lnTo>
                    <a:lnTo>
                      <a:pt x="305" y="210"/>
                    </a:lnTo>
                    <a:lnTo>
                      <a:pt x="352" y="234"/>
                    </a:lnTo>
                    <a:lnTo>
                      <a:pt x="353" y="245"/>
                    </a:lnTo>
                    <a:lnTo>
                      <a:pt x="359" y="257"/>
                    </a:lnTo>
                    <a:lnTo>
                      <a:pt x="363" y="267"/>
                    </a:lnTo>
                    <a:lnTo>
                      <a:pt x="365" y="271"/>
                    </a:lnTo>
                    <a:lnTo>
                      <a:pt x="353" y="267"/>
                    </a:lnTo>
                    <a:lnTo>
                      <a:pt x="321" y="259"/>
                    </a:lnTo>
                    <a:lnTo>
                      <a:pt x="300" y="255"/>
                    </a:lnTo>
                    <a:lnTo>
                      <a:pt x="275" y="252"/>
                    </a:lnTo>
                    <a:lnTo>
                      <a:pt x="262" y="251"/>
                    </a:lnTo>
                    <a:lnTo>
                      <a:pt x="248" y="251"/>
                    </a:lnTo>
                    <a:lnTo>
                      <a:pt x="233" y="251"/>
                    </a:lnTo>
                    <a:lnTo>
                      <a:pt x="219" y="252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65" name="Freeform 480"/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4912444" y="3921285"/>
                <a:ext cx="567784" cy="595839"/>
              </a:xfrm>
              <a:custGeom>
                <a:avLst/>
                <a:gdLst/>
                <a:ahLst/>
                <a:cxnLst>
                  <a:cxn ang="0">
                    <a:pos x="146" y="12"/>
                  </a:cxn>
                  <a:cxn ang="0">
                    <a:pos x="239" y="12"/>
                  </a:cxn>
                  <a:cxn ang="0">
                    <a:pos x="287" y="5"/>
                  </a:cxn>
                  <a:cxn ang="0">
                    <a:pos x="326" y="22"/>
                  </a:cxn>
                  <a:cxn ang="0">
                    <a:pos x="396" y="66"/>
                  </a:cxn>
                  <a:cxn ang="0">
                    <a:pos x="465" y="111"/>
                  </a:cxn>
                  <a:cxn ang="0">
                    <a:pos x="469" y="131"/>
                  </a:cxn>
                  <a:cxn ang="0">
                    <a:pos x="480" y="153"/>
                  </a:cxn>
                  <a:cxn ang="0">
                    <a:pos x="497" y="170"/>
                  </a:cxn>
                  <a:cxn ang="0">
                    <a:pos x="519" y="183"/>
                  </a:cxn>
                  <a:cxn ang="0">
                    <a:pos x="543" y="190"/>
                  </a:cxn>
                  <a:cxn ang="0">
                    <a:pos x="554" y="195"/>
                  </a:cxn>
                  <a:cxn ang="0">
                    <a:pos x="565" y="205"/>
                  </a:cxn>
                  <a:cxn ang="0">
                    <a:pos x="561" y="227"/>
                  </a:cxn>
                  <a:cxn ang="0">
                    <a:pos x="537" y="252"/>
                  </a:cxn>
                  <a:cxn ang="0">
                    <a:pos x="525" y="271"/>
                  </a:cxn>
                  <a:cxn ang="0">
                    <a:pos x="533" y="287"/>
                  </a:cxn>
                  <a:cxn ang="0">
                    <a:pos x="547" y="299"/>
                  </a:cxn>
                  <a:cxn ang="0">
                    <a:pos x="552" y="425"/>
                  </a:cxn>
                  <a:cxn ang="0">
                    <a:pos x="550" y="439"/>
                  </a:cxn>
                  <a:cxn ang="0">
                    <a:pos x="558" y="462"/>
                  </a:cxn>
                  <a:cxn ang="0">
                    <a:pos x="558" y="489"/>
                  </a:cxn>
                  <a:cxn ang="0">
                    <a:pos x="561" y="515"/>
                  </a:cxn>
                  <a:cxn ang="0">
                    <a:pos x="594" y="549"/>
                  </a:cxn>
                  <a:cxn ang="0">
                    <a:pos x="616" y="579"/>
                  </a:cxn>
                  <a:cxn ang="0">
                    <a:pos x="575" y="600"/>
                  </a:cxn>
                  <a:cxn ang="0">
                    <a:pos x="491" y="631"/>
                  </a:cxn>
                  <a:cxn ang="0">
                    <a:pos x="443" y="638"/>
                  </a:cxn>
                  <a:cxn ang="0">
                    <a:pos x="392" y="628"/>
                  </a:cxn>
                  <a:cxn ang="0">
                    <a:pos x="339" y="633"/>
                  </a:cxn>
                  <a:cxn ang="0">
                    <a:pos x="306" y="628"/>
                  </a:cxn>
                  <a:cxn ang="0">
                    <a:pos x="299" y="614"/>
                  </a:cxn>
                  <a:cxn ang="0">
                    <a:pos x="294" y="573"/>
                  </a:cxn>
                  <a:cxn ang="0">
                    <a:pos x="288" y="529"/>
                  </a:cxn>
                  <a:cxn ang="0">
                    <a:pos x="253" y="517"/>
                  </a:cxn>
                  <a:cxn ang="0">
                    <a:pos x="185" y="502"/>
                  </a:cxn>
                  <a:cxn ang="0">
                    <a:pos x="90" y="459"/>
                  </a:cxn>
                  <a:cxn ang="0">
                    <a:pos x="68" y="446"/>
                  </a:cxn>
                  <a:cxn ang="0">
                    <a:pos x="66" y="428"/>
                  </a:cxn>
                  <a:cxn ang="0">
                    <a:pos x="65" y="402"/>
                  </a:cxn>
                  <a:cxn ang="0">
                    <a:pos x="53" y="377"/>
                  </a:cxn>
                  <a:cxn ang="0">
                    <a:pos x="41" y="357"/>
                  </a:cxn>
                  <a:cxn ang="0">
                    <a:pos x="27" y="347"/>
                  </a:cxn>
                  <a:cxn ang="0">
                    <a:pos x="12" y="332"/>
                  </a:cxn>
                  <a:cxn ang="0">
                    <a:pos x="5" y="308"/>
                  </a:cxn>
                  <a:cxn ang="0">
                    <a:pos x="0" y="262"/>
                  </a:cxn>
                  <a:cxn ang="0">
                    <a:pos x="0" y="234"/>
                  </a:cxn>
                  <a:cxn ang="0">
                    <a:pos x="10" y="212"/>
                  </a:cxn>
                  <a:cxn ang="0">
                    <a:pos x="38" y="195"/>
                  </a:cxn>
                  <a:cxn ang="0">
                    <a:pos x="61" y="173"/>
                  </a:cxn>
                  <a:cxn ang="0">
                    <a:pos x="77" y="77"/>
                  </a:cxn>
                  <a:cxn ang="0">
                    <a:pos x="84" y="43"/>
                  </a:cxn>
                  <a:cxn ang="0">
                    <a:pos x="82" y="8"/>
                  </a:cxn>
                </a:cxnLst>
                <a:rect l="0" t="0" r="r" b="b"/>
                <a:pathLst>
                  <a:path w="624" h="640">
                    <a:moveTo>
                      <a:pt x="79" y="0"/>
                    </a:moveTo>
                    <a:lnTo>
                      <a:pt x="146" y="0"/>
                    </a:lnTo>
                    <a:lnTo>
                      <a:pt x="146" y="12"/>
                    </a:lnTo>
                    <a:lnTo>
                      <a:pt x="173" y="43"/>
                    </a:lnTo>
                    <a:lnTo>
                      <a:pt x="232" y="43"/>
                    </a:lnTo>
                    <a:lnTo>
                      <a:pt x="239" y="12"/>
                    </a:lnTo>
                    <a:lnTo>
                      <a:pt x="259" y="0"/>
                    </a:lnTo>
                    <a:lnTo>
                      <a:pt x="273" y="0"/>
                    </a:lnTo>
                    <a:lnTo>
                      <a:pt x="287" y="5"/>
                    </a:lnTo>
                    <a:lnTo>
                      <a:pt x="301" y="10"/>
                    </a:lnTo>
                    <a:lnTo>
                      <a:pt x="314" y="16"/>
                    </a:lnTo>
                    <a:lnTo>
                      <a:pt x="326" y="22"/>
                    </a:lnTo>
                    <a:lnTo>
                      <a:pt x="351" y="36"/>
                    </a:lnTo>
                    <a:lnTo>
                      <a:pt x="374" y="51"/>
                    </a:lnTo>
                    <a:lnTo>
                      <a:pt x="396" y="66"/>
                    </a:lnTo>
                    <a:lnTo>
                      <a:pt x="418" y="81"/>
                    </a:lnTo>
                    <a:lnTo>
                      <a:pt x="441" y="97"/>
                    </a:lnTo>
                    <a:lnTo>
                      <a:pt x="465" y="111"/>
                    </a:lnTo>
                    <a:lnTo>
                      <a:pt x="465" y="118"/>
                    </a:lnTo>
                    <a:lnTo>
                      <a:pt x="467" y="124"/>
                    </a:lnTo>
                    <a:lnTo>
                      <a:pt x="469" y="131"/>
                    </a:lnTo>
                    <a:lnTo>
                      <a:pt x="471" y="138"/>
                    </a:lnTo>
                    <a:lnTo>
                      <a:pt x="476" y="146"/>
                    </a:lnTo>
                    <a:lnTo>
                      <a:pt x="480" y="153"/>
                    </a:lnTo>
                    <a:lnTo>
                      <a:pt x="485" y="159"/>
                    </a:lnTo>
                    <a:lnTo>
                      <a:pt x="491" y="165"/>
                    </a:lnTo>
                    <a:lnTo>
                      <a:pt x="497" y="170"/>
                    </a:lnTo>
                    <a:lnTo>
                      <a:pt x="503" y="175"/>
                    </a:lnTo>
                    <a:lnTo>
                      <a:pt x="511" y="179"/>
                    </a:lnTo>
                    <a:lnTo>
                      <a:pt x="519" y="183"/>
                    </a:lnTo>
                    <a:lnTo>
                      <a:pt x="526" y="186"/>
                    </a:lnTo>
                    <a:lnTo>
                      <a:pt x="534" y="188"/>
                    </a:lnTo>
                    <a:lnTo>
                      <a:pt x="543" y="190"/>
                    </a:lnTo>
                    <a:lnTo>
                      <a:pt x="552" y="190"/>
                    </a:lnTo>
                    <a:lnTo>
                      <a:pt x="552" y="193"/>
                    </a:lnTo>
                    <a:lnTo>
                      <a:pt x="554" y="195"/>
                    </a:lnTo>
                    <a:lnTo>
                      <a:pt x="556" y="198"/>
                    </a:lnTo>
                    <a:lnTo>
                      <a:pt x="559" y="200"/>
                    </a:lnTo>
                    <a:lnTo>
                      <a:pt x="565" y="205"/>
                    </a:lnTo>
                    <a:lnTo>
                      <a:pt x="571" y="209"/>
                    </a:lnTo>
                    <a:lnTo>
                      <a:pt x="567" y="219"/>
                    </a:lnTo>
                    <a:lnTo>
                      <a:pt x="561" y="227"/>
                    </a:lnTo>
                    <a:lnTo>
                      <a:pt x="554" y="236"/>
                    </a:lnTo>
                    <a:lnTo>
                      <a:pt x="545" y="244"/>
                    </a:lnTo>
                    <a:lnTo>
                      <a:pt x="537" y="252"/>
                    </a:lnTo>
                    <a:lnTo>
                      <a:pt x="531" y="260"/>
                    </a:lnTo>
                    <a:lnTo>
                      <a:pt x="526" y="266"/>
                    </a:lnTo>
                    <a:lnTo>
                      <a:pt x="525" y="271"/>
                    </a:lnTo>
                    <a:lnTo>
                      <a:pt x="526" y="277"/>
                    </a:lnTo>
                    <a:lnTo>
                      <a:pt x="528" y="283"/>
                    </a:lnTo>
                    <a:lnTo>
                      <a:pt x="533" y="287"/>
                    </a:lnTo>
                    <a:lnTo>
                      <a:pt x="538" y="291"/>
                    </a:lnTo>
                    <a:lnTo>
                      <a:pt x="543" y="295"/>
                    </a:lnTo>
                    <a:lnTo>
                      <a:pt x="547" y="299"/>
                    </a:lnTo>
                    <a:lnTo>
                      <a:pt x="550" y="303"/>
                    </a:lnTo>
                    <a:lnTo>
                      <a:pt x="552" y="307"/>
                    </a:lnTo>
                    <a:lnTo>
                      <a:pt x="552" y="425"/>
                    </a:lnTo>
                    <a:lnTo>
                      <a:pt x="549" y="430"/>
                    </a:lnTo>
                    <a:lnTo>
                      <a:pt x="549" y="434"/>
                    </a:lnTo>
                    <a:lnTo>
                      <a:pt x="550" y="439"/>
                    </a:lnTo>
                    <a:lnTo>
                      <a:pt x="552" y="443"/>
                    </a:lnTo>
                    <a:lnTo>
                      <a:pt x="556" y="452"/>
                    </a:lnTo>
                    <a:lnTo>
                      <a:pt x="558" y="462"/>
                    </a:lnTo>
                    <a:lnTo>
                      <a:pt x="558" y="475"/>
                    </a:lnTo>
                    <a:lnTo>
                      <a:pt x="558" y="483"/>
                    </a:lnTo>
                    <a:lnTo>
                      <a:pt x="558" y="489"/>
                    </a:lnTo>
                    <a:lnTo>
                      <a:pt x="558" y="499"/>
                    </a:lnTo>
                    <a:lnTo>
                      <a:pt x="559" y="507"/>
                    </a:lnTo>
                    <a:lnTo>
                      <a:pt x="561" y="515"/>
                    </a:lnTo>
                    <a:lnTo>
                      <a:pt x="567" y="523"/>
                    </a:lnTo>
                    <a:lnTo>
                      <a:pt x="574" y="532"/>
                    </a:lnTo>
                    <a:lnTo>
                      <a:pt x="594" y="549"/>
                    </a:lnTo>
                    <a:lnTo>
                      <a:pt x="624" y="572"/>
                    </a:lnTo>
                    <a:lnTo>
                      <a:pt x="622" y="575"/>
                    </a:lnTo>
                    <a:lnTo>
                      <a:pt x="616" y="579"/>
                    </a:lnTo>
                    <a:lnTo>
                      <a:pt x="609" y="583"/>
                    </a:lnTo>
                    <a:lnTo>
                      <a:pt x="599" y="589"/>
                    </a:lnTo>
                    <a:lnTo>
                      <a:pt x="575" y="600"/>
                    </a:lnTo>
                    <a:lnTo>
                      <a:pt x="546" y="611"/>
                    </a:lnTo>
                    <a:lnTo>
                      <a:pt x="518" y="622"/>
                    </a:lnTo>
                    <a:lnTo>
                      <a:pt x="491" y="631"/>
                    </a:lnTo>
                    <a:lnTo>
                      <a:pt x="470" y="638"/>
                    </a:lnTo>
                    <a:lnTo>
                      <a:pt x="458" y="640"/>
                    </a:lnTo>
                    <a:lnTo>
                      <a:pt x="443" y="638"/>
                    </a:lnTo>
                    <a:lnTo>
                      <a:pt x="423" y="634"/>
                    </a:lnTo>
                    <a:lnTo>
                      <a:pt x="403" y="630"/>
                    </a:lnTo>
                    <a:lnTo>
                      <a:pt x="392" y="628"/>
                    </a:lnTo>
                    <a:lnTo>
                      <a:pt x="369" y="630"/>
                    </a:lnTo>
                    <a:lnTo>
                      <a:pt x="348" y="632"/>
                    </a:lnTo>
                    <a:lnTo>
                      <a:pt x="339" y="633"/>
                    </a:lnTo>
                    <a:lnTo>
                      <a:pt x="329" y="633"/>
                    </a:lnTo>
                    <a:lnTo>
                      <a:pt x="318" y="631"/>
                    </a:lnTo>
                    <a:lnTo>
                      <a:pt x="306" y="628"/>
                    </a:lnTo>
                    <a:lnTo>
                      <a:pt x="303" y="625"/>
                    </a:lnTo>
                    <a:lnTo>
                      <a:pt x="301" y="620"/>
                    </a:lnTo>
                    <a:lnTo>
                      <a:pt x="299" y="614"/>
                    </a:lnTo>
                    <a:lnTo>
                      <a:pt x="298" y="608"/>
                    </a:lnTo>
                    <a:lnTo>
                      <a:pt x="295" y="592"/>
                    </a:lnTo>
                    <a:lnTo>
                      <a:pt x="294" y="573"/>
                    </a:lnTo>
                    <a:lnTo>
                      <a:pt x="291" y="556"/>
                    </a:lnTo>
                    <a:lnTo>
                      <a:pt x="289" y="541"/>
                    </a:lnTo>
                    <a:lnTo>
                      <a:pt x="288" y="529"/>
                    </a:lnTo>
                    <a:lnTo>
                      <a:pt x="286" y="523"/>
                    </a:lnTo>
                    <a:lnTo>
                      <a:pt x="270" y="519"/>
                    </a:lnTo>
                    <a:lnTo>
                      <a:pt x="253" y="517"/>
                    </a:lnTo>
                    <a:lnTo>
                      <a:pt x="232" y="515"/>
                    </a:lnTo>
                    <a:lnTo>
                      <a:pt x="206" y="511"/>
                    </a:lnTo>
                    <a:lnTo>
                      <a:pt x="185" y="502"/>
                    </a:lnTo>
                    <a:lnTo>
                      <a:pt x="139" y="482"/>
                    </a:lnTo>
                    <a:lnTo>
                      <a:pt x="113" y="470"/>
                    </a:lnTo>
                    <a:lnTo>
                      <a:pt x="90" y="459"/>
                    </a:lnTo>
                    <a:lnTo>
                      <a:pt x="82" y="454"/>
                    </a:lnTo>
                    <a:lnTo>
                      <a:pt x="74" y="450"/>
                    </a:lnTo>
                    <a:lnTo>
                      <a:pt x="68" y="446"/>
                    </a:lnTo>
                    <a:lnTo>
                      <a:pt x="66" y="443"/>
                    </a:lnTo>
                    <a:lnTo>
                      <a:pt x="66" y="437"/>
                    </a:lnTo>
                    <a:lnTo>
                      <a:pt x="66" y="428"/>
                    </a:lnTo>
                    <a:lnTo>
                      <a:pt x="66" y="419"/>
                    </a:lnTo>
                    <a:lnTo>
                      <a:pt x="66" y="412"/>
                    </a:lnTo>
                    <a:lnTo>
                      <a:pt x="65" y="402"/>
                    </a:lnTo>
                    <a:lnTo>
                      <a:pt x="62" y="392"/>
                    </a:lnTo>
                    <a:lnTo>
                      <a:pt x="57" y="384"/>
                    </a:lnTo>
                    <a:lnTo>
                      <a:pt x="53" y="377"/>
                    </a:lnTo>
                    <a:lnTo>
                      <a:pt x="48" y="371"/>
                    </a:lnTo>
                    <a:lnTo>
                      <a:pt x="44" y="363"/>
                    </a:lnTo>
                    <a:lnTo>
                      <a:pt x="41" y="357"/>
                    </a:lnTo>
                    <a:lnTo>
                      <a:pt x="40" y="351"/>
                    </a:lnTo>
                    <a:lnTo>
                      <a:pt x="32" y="350"/>
                    </a:lnTo>
                    <a:lnTo>
                      <a:pt x="27" y="347"/>
                    </a:lnTo>
                    <a:lnTo>
                      <a:pt x="21" y="343"/>
                    </a:lnTo>
                    <a:lnTo>
                      <a:pt x="17" y="338"/>
                    </a:lnTo>
                    <a:lnTo>
                      <a:pt x="12" y="332"/>
                    </a:lnTo>
                    <a:lnTo>
                      <a:pt x="9" y="325"/>
                    </a:lnTo>
                    <a:lnTo>
                      <a:pt x="7" y="317"/>
                    </a:lnTo>
                    <a:lnTo>
                      <a:pt x="5" y="308"/>
                    </a:lnTo>
                    <a:lnTo>
                      <a:pt x="1" y="291"/>
                    </a:lnTo>
                    <a:lnTo>
                      <a:pt x="0" y="276"/>
                    </a:lnTo>
                    <a:lnTo>
                      <a:pt x="0" y="262"/>
                    </a:lnTo>
                    <a:lnTo>
                      <a:pt x="0" y="252"/>
                    </a:lnTo>
                    <a:lnTo>
                      <a:pt x="0" y="243"/>
                    </a:lnTo>
                    <a:lnTo>
                      <a:pt x="0" y="234"/>
                    </a:lnTo>
                    <a:lnTo>
                      <a:pt x="0" y="225"/>
                    </a:lnTo>
                    <a:lnTo>
                      <a:pt x="0" y="215"/>
                    </a:lnTo>
                    <a:lnTo>
                      <a:pt x="10" y="212"/>
                    </a:lnTo>
                    <a:lnTo>
                      <a:pt x="20" y="208"/>
                    </a:lnTo>
                    <a:lnTo>
                      <a:pt x="29" y="202"/>
                    </a:lnTo>
                    <a:lnTo>
                      <a:pt x="38" y="195"/>
                    </a:lnTo>
                    <a:lnTo>
                      <a:pt x="46" y="188"/>
                    </a:lnTo>
                    <a:lnTo>
                      <a:pt x="54" y="180"/>
                    </a:lnTo>
                    <a:lnTo>
                      <a:pt x="61" y="173"/>
                    </a:lnTo>
                    <a:lnTo>
                      <a:pt x="66" y="166"/>
                    </a:lnTo>
                    <a:lnTo>
                      <a:pt x="73" y="85"/>
                    </a:lnTo>
                    <a:lnTo>
                      <a:pt x="77" y="77"/>
                    </a:lnTo>
                    <a:lnTo>
                      <a:pt x="81" y="67"/>
                    </a:lnTo>
                    <a:lnTo>
                      <a:pt x="83" y="55"/>
                    </a:lnTo>
                    <a:lnTo>
                      <a:pt x="84" y="43"/>
                    </a:lnTo>
                    <a:lnTo>
                      <a:pt x="84" y="30"/>
                    </a:lnTo>
                    <a:lnTo>
                      <a:pt x="83" y="18"/>
                    </a:lnTo>
                    <a:lnTo>
                      <a:pt x="82" y="8"/>
                    </a:lnTo>
                    <a:lnTo>
                      <a:pt x="79" y="0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68" name="Freeform 532"/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2430896" y="2241075"/>
                <a:ext cx="13362" cy="101661"/>
              </a:xfrm>
              <a:custGeom>
                <a:avLst/>
                <a:gdLst/>
                <a:ahLst/>
                <a:cxnLst>
                  <a:cxn ang="0">
                    <a:pos x="6" y="36"/>
                  </a:cxn>
                  <a:cxn ang="0">
                    <a:pos x="5" y="30"/>
                  </a:cxn>
                  <a:cxn ang="0">
                    <a:pos x="3" y="20"/>
                  </a:cxn>
                  <a:cxn ang="0">
                    <a:pos x="1" y="10"/>
                  </a:cxn>
                  <a:cxn ang="0">
                    <a:pos x="0" y="0"/>
                  </a:cxn>
                  <a:cxn ang="0">
                    <a:pos x="26" y="0"/>
                  </a:cxn>
                  <a:cxn ang="0">
                    <a:pos x="25" y="12"/>
                  </a:cxn>
                  <a:cxn ang="0">
                    <a:pos x="24" y="23"/>
                  </a:cxn>
                  <a:cxn ang="0">
                    <a:pos x="23" y="27"/>
                  </a:cxn>
                  <a:cxn ang="0">
                    <a:pos x="23" y="31"/>
                  </a:cxn>
                  <a:cxn ang="0">
                    <a:pos x="24" y="34"/>
                  </a:cxn>
                  <a:cxn ang="0">
                    <a:pos x="26" y="36"/>
                  </a:cxn>
                  <a:cxn ang="0">
                    <a:pos x="6" y="36"/>
                  </a:cxn>
                </a:cxnLst>
                <a:rect l="0" t="0" r="r" b="b"/>
                <a:pathLst>
                  <a:path w="26" h="36">
                    <a:moveTo>
                      <a:pt x="6" y="36"/>
                    </a:moveTo>
                    <a:lnTo>
                      <a:pt x="5" y="30"/>
                    </a:lnTo>
                    <a:lnTo>
                      <a:pt x="3" y="20"/>
                    </a:lnTo>
                    <a:lnTo>
                      <a:pt x="1" y="10"/>
                    </a:lnTo>
                    <a:lnTo>
                      <a:pt x="0" y="0"/>
                    </a:lnTo>
                    <a:lnTo>
                      <a:pt x="26" y="0"/>
                    </a:lnTo>
                    <a:lnTo>
                      <a:pt x="25" y="12"/>
                    </a:lnTo>
                    <a:lnTo>
                      <a:pt x="24" y="23"/>
                    </a:lnTo>
                    <a:lnTo>
                      <a:pt x="23" y="27"/>
                    </a:lnTo>
                    <a:lnTo>
                      <a:pt x="23" y="31"/>
                    </a:lnTo>
                    <a:lnTo>
                      <a:pt x="24" y="34"/>
                    </a:lnTo>
                    <a:lnTo>
                      <a:pt x="26" y="36"/>
                    </a:lnTo>
                    <a:lnTo>
                      <a:pt x="6" y="36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69" name="Freeform 545"/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3382766" y="2534760"/>
                <a:ext cx="791559" cy="686201"/>
              </a:xfrm>
              <a:custGeom>
                <a:avLst/>
                <a:gdLst/>
                <a:ahLst/>
                <a:cxnLst>
                  <a:cxn ang="0">
                    <a:pos x="231" y="270"/>
                  </a:cxn>
                  <a:cxn ang="0">
                    <a:pos x="245" y="264"/>
                  </a:cxn>
                  <a:cxn ang="0">
                    <a:pos x="272" y="272"/>
                  </a:cxn>
                  <a:cxn ang="0">
                    <a:pos x="654" y="1"/>
                  </a:cxn>
                  <a:cxn ang="0">
                    <a:pos x="679" y="6"/>
                  </a:cxn>
                  <a:cxn ang="0">
                    <a:pos x="711" y="21"/>
                  </a:cxn>
                  <a:cxn ang="0">
                    <a:pos x="730" y="35"/>
                  </a:cxn>
                  <a:cxn ang="0">
                    <a:pos x="760" y="57"/>
                  </a:cxn>
                  <a:cxn ang="0">
                    <a:pos x="791" y="59"/>
                  </a:cxn>
                  <a:cxn ang="0">
                    <a:pos x="831" y="43"/>
                  </a:cxn>
                  <a:cxn ang="0">
                    <a:pos x="854" y="166"/>
                  </a:cxn>
                  <a:cxn ang="0">
                    <a:pos x="866" y="205"/>
                  </a:cxn>
                  <a:cxn ang="0">
                    <a:pos x="850" y="301"/>
                  </a:cxn>
                  <a:cxn ang="0">
                    <a:pos x="848" y="376"/>
                  </a:cxn>
                  <a:cxn ang="0">
                    <a:pos x="834" y="421"/>
                  </a:cxn>
                  <a:cxn ang="0">
                    <a:pos x="802" y="467"/>
                  </a:cxn>
                  <a:cxn ang="0">
                    <a:pos x="777" y="499"/>
                  </a:cxn>
                  <a:cxn ang="0">
                    <a:pos x="758" y="567"/>
                  </a:cxn>
                  <a:cxn ang="0">
                    <a:pos x="711" y="629"/>
                  </a:cxn>
                  <a:cxn ang="0">
                    <a:pos x="680" y="646"/>
                  </a:cxn>
                  <a:cxn ang="0">
                    <a:pos x="644" y="638"/>
                  </a:cxn>
                  <a:cxn ang="0">
                    <a:pos x="611" y="625"/>
                  </a:cxn>
                  <a:cxn ang="0">
                    <a:pos x="566" y="633"/>
                  </a:cxn>
                  <a:cxn ang="0">
                    <a:pos x="530" y="659"/>
                  </a:cxn>
                  <a:cxn ang="0">
                    <a:pos x="511" y="680"/>
                  </a:cxn>
                  <a:cxn ang="0">
                    <a:pos x="491" y="684"/>
                  </a:cxn>
                  <a:cxn ang="0">
                    <a:pos x="470" y="668"/>
                  </a:cxn>
                  <a:cxn ang="0">
                    <a:pos x="446" y="639"/>
                  </a:cxn>
                  <a:cxn ang="0">
                    <a:pos x="421" y="635"/>
                  </a:cxn>
                  <a:cxn ang="0">
                    <a:pos x="405" y="647"/>
                  </a:cxn>
                  <a:cxn ang="0">
                    <a:pos x="384" y="652"/>
                  </a:cxn>
                  <a:cxn ang="0">
                    <a:pos x="350" y="638"/>
                  </a:cxn>
                  <a:cxn ang="0">
                    <a:pos x="306" y="608"/>
                  </a:cxn>
                  <a:cxn ang="0">
                    <a:pos x="271" y="604"/>
                  </a:cxn>
                  <a:cxn ang="0">
                    <a:pos x="237" y="620"/>
                  </a:cxn>
                  <a:cxn ang="0">
                    <a:pos x="209" y="653"/>
                  </a:cxn>
                  <a:cxn ang="0">
                    <a:pos x="190" y="692"/>
                  </a:cxn>
                  <a:cxn ang="0">
                    <a:pos x="178" y="719"/>
                  </a:cxn>
                  <a:cxn ang="0">
                    <a:pos x="149" y="702"/>
                  </a:cxn>
                  <a:cxn ang="0">
                    <a:pos x="100" y="740"/>
                  </a:cxn>
                  <a:cxn ang="0">
                    <a:pos x="66" y="699"/>
                  </a:cxn>
                  <a:cxn ang="0">
                    <a:pos x="64" y="644"/>
                  </a:cxn>
                  <a:cxn ang="0">
                    <a:pos x="50" y="613"/>
                  </a:cxn>
                  <a:cxn ang="0">
                    <a:pos x="20" y="587"/>
                  </a:cxn>
                  <a:cxn ang="0">
                    <a:pos x="5" y="558"/>
                  </a:cxn>
                  <a:cxn ang="0">
                    <a:pos x="53" y="530"/>
                  </a:cxn>
                  <a:cxn ang="0">
                    <a:pos x="76" y="518"/>
                  </a:cxn>
                  <a:cxn ang="0">
                    <a:pos x="139" y="510"/>
                  </a:cxn>
                  <a:cxn ang="0">
                    <a:pos x="182" y="500"/>
                  </a:cxn>
                  <a:cxn ang="0">
                    <a:pos x="201" y="475"/>
                  </a:cxn>
                  <a:cxn ang="0">
                    <a:pos x="219" y="424"/>
                  </a:cxn>
                  <a:cxn ang="0">
                    <a:pos x="224" y="367"/>
                  </a:cxn>
                  <a:cxn ang="0">
                    <a:pos x="219" y="320"/>
                  </a:cxn>
                </a:cxnLst>
                <a:rect l="0" t="0" r="r" b="b"/>
                <a:pathLst>
                  <a:path w="866" h="740">
                    <a:moveTo>
                      <a:pt x="219" y="283"/>
                    </a:moveTo>
                    <a:lnTo>
                      <a:pt x="223" y="278"/>
                    </a:lnTo>
                    <a:lnTo>
                      <a:pt x="227" y="273"/>
                    </a:lnTo>
                    <a:lnTo>
                      <a:pt x="231" y="270"/>
                    </a:lnTo>
                    <a:lnTo>
                      <a:pt x="234" y="267"/>
                    </a:lnTo>
                    <a:lnTo>
                      <a:pt x="238" y="266"/>
                    </a:lnTo>
                    <a:lnTo>
                      <a:pt x="242" y="264"/>
                    </a:lnTo>
                    <a:lnTo>
                      <a:pt x="245" y="264"/>
                    </a:lnTo>
                    <a:lnTo>
                      <a:pt x="250" y="264"/>
                    </a:lnTo>
                    <a:lnTo>
                      <a:pt x="256" y="265"/>
                    </a:lnTo>
                    <a:lnTo>
                      <a:pt x="264" y="268"/>
                    </a:lnTo>
                    <a:lnTo>
                      <a:pt x="272" y="272"/>
                    </a:lnTo>
                    <a:lnTo>
                      <a:pt x="279" y="277"/>
                    </a:lnTo>
                    <a:lnTo>
                      <a:pt x="645" y="6"/>
                    </a:lnTo>
                    <a:lnTo>
                      <a:pt x="649" y="3"/>
                    </a:lnTo>
                    <a:lnTo>
                      <a:pt x="654" y="1"/>
                    </a:lnTo>
                    <a:lnTo>
                      <a:pt x="658" y="0"/>
                    </a:lnTo>
                    <a:lnTo>
                      <a:pt x="663" y="0"/>
                    </a:lnTo>
                    <a:lnTo>
                      <a:pt x="671" y="2"/>
                    </a:lnTo>
                    <a:lnTo>
                      <a:pt x="679" y="6"/>
                    </a:lnTo>
                    <a:lnTo>
                      <a:pt x="689" y="11"/>
                    </a:lnTo>
                    <a:lnTo>
                      <a:pt x="699" y="17"/>
                    </a:lnTo>
                    <a:lnTo>
                      <a:pt x="704" y="19"/>
                    </a:lnTo>
                    <a:lnTo>
                      <a:pt x="711" y="21"/>
                    </a:lnTo>
                    <a:lnTo>
                      <a:pt x="717" y="23"/>
                    </a:lnTo>
                    <a:lnTo>
                      <a:pt x="724" y="25"/>
                    </a:lnTo>
                    <a:lnTo>
                      <a:pt x="726" y="30"/>
                    </a:lnTo>
                    <a:lnTo>
                      <a:pt x="730" y="35"/>
                    </a:lnTo>
                    <a:lnTo>
                      <a:pt x="736" y="42"/>
                    </a:lnTo>
                    <a:lnTo>
                      <a:pt x="744" y="47"/>
                    </a:lnTo>
                    <a:lnTo>
                      <a:pt x="752" y="53"/>
                    </a:lnTo>
                    <a:lnTo>
                      <a:pt x="760" y="57"/>
                    </a:lnTo>
                    <a:lnTo>
                      <a:pt x="769" y="60"/>
                    </a:lnTo>
                    <a:lnTo>
                      <a:pt x="778" y="61"/>
                    </a:lnTo>
                    <a:lnTo>
                      <a:pt x="784" y="60"/>
                    </a:lnTo>
                    <a:lnTo>
                      <a:pt x="791" y="59"/>
                    </a:lnTo>
                    <a:lnTo>
                      <a:pt x="798" y="57"/>
                    </a:lnTo>
                    <a:lnTo>
                      <a:pt x="804" y="54"/>
                    </a:lnTo>
                    <a:lnTo>
                      <a:pt x="816" y="48"/>
                    </a:lnTo>
                    <a:lnTo>
                      <a:pt x="831" y="43"/>
                    </a:lnTo>
                    <a:lnTo>
                      <a:pt x="824" y="122"/>
                    </a:lnTo>
                    <a:lnTo>
                      <a:pt x="836" y="140"/>
                    </a:lnTo>
                    <a:lnTo>
                      <a:pt x="846" y="154"/>
                    </a:lnTo>
                    <a:lnTo>
                      <a:pt x="854" y="166"/>
                    </a:lnTo>
                    <a:lnTo>
                      <a:pt x="859" y="177"/>
                    </a:lnTo>
                    <a:lnTo>
                      <a:pt x="862" y="188"/>
                    </a:lnTo>
                    <a:lnTo>
                      <a:pt x="865" y="197"/>
                    </a:lnTo>
                    <a:lnTo>
                      <a:pt x="866" y="205"/>
                    </a:lnTo>
                    <a:lnTo>
                      <a:pt x="865" y="211"/>
                    </a:lnTo>
                    <a:lnTo>
                      <a:pt x="857" y="234"/>
                    </a:lnTo>
                    <a:lnTo>
                      <a:pt x="850" y="259"/>
                    </a:lnTo>
                    <a:lnTo>
                      <a:pt x="850" y="301"/>
                    </a:lnTo>
                    <a:lnTo>
                      <a:pt x="850" y="334"/>
                    </a:lnTo>
                    <a:lnTo>
                      <a:pt x="850" y="350"/>
                    </a:lnTo>
                    <a:lnTo>
                      <a:pt x="849" y="364"/>
                    </a:lnTo>
                    <a:lnTo>
                      <a:pt x="848" y="376"/>
                    </a:lnTo>
                    <a:lnTo>
                      <a:pt x="846" y="388"/>
                    </a:lnTo>
                    <a:lnTo>
                      <a:pt x="843" y="399"/>
                    </a:lnTo>
                    <a:lnTo>
                      <a:pt x="839" y="411"/>
                    </a:lnTo>
                    <a:lnTo>
                      <a:pt x="834" y="421"/>
                    </a:lnTo>
                    <a:lnTo>
                      <a:pt x="828" y="432"/>
                    </a:lnTo>
                    <a:lnTo>
                      <a:pt x="821" y="443"/>
                    </a:lnTo>
                    <a:lnTo>
                      <a:pt x="813" y="454"/>
                    </a:lnTo>
                    <a:lnTo>
                      <a:pt x="802" y="467"/>
                    </a:lnTo>
                    <a:lnTo>
                      <a:pt x="791" y="480"/>
                    </a:lnTo>
                    <a:lnTo>
                      <a:pt x="786" y="486"/>
                    </a:lnTo>
                    <a:lnTo>
                      <a:pt x="781" y="493"/>
                    </a:lnTo>
                    <a:lnTo>
                      <a:pt x="777" y="499"/>
                    </a:lnTo>
                    <a:lnTo>
                      <a:pt x="773" y="506"/>
                    </a:lnTo>
                    <a:lnTo>
                      <a:pt x="768" y="522"/>
                    </a:lnTo>
                    <a:lnTo>
                      <a:pt x="764" y="537"/>
                    </a:lnTo>
                    <a:lnTo>
                      <a:pt x="758" y="567"/>
                    </a:lnTo>
                    <a:lnTo>
                      <a:pt x="755" y="593"/>
                    </a:lnTo>
                    <a:lnTo>
                      <a:pt x="731" y="585"/>
                    </a:lnTo>
                    <a:lnTo>
                      <a:pt x="698" y="591"/>
                    </a:lnTo>
                    <a:lnTo>
                      <a:pt x="711" y="629"/>
                    </a:lnTo>
                    <a:lnTo>
                      <a:pt x="719" y="636"/>
                    </a:lnTo>
                    <a:lnTo>
                      <a:pt x="704" y="641"/>
                    </a:lnTo>
                    <a:lnTo>
                      <a:pt x="692" y="645"/>
                    </a:lnTo>
                    <a:lnTo>
                      <a:pt x="680" y="646"/>
                    </a:lnTo>
                    <a:lnTo>
                      <a:pt x="670" y="646"/>
                    </a:lnTo>
                    <a:lnTo>
                      <a:pt x="661" y="644"/>
                    </a:lnTo>
                    <a:lnTo>
                      <a:pt x="653" y="641"/>
                    </a:lnTo>
                    <a:lnTo>
                      <a:pt x="644" y="638"/>
                    </a:lnTo>
                    <a:lnTo>
                      <a:pt x="636" y="634"/>
                    </a:lnTo>
                    <a:lnTo>
                      <a:pt x="629" y="631"/>
                    </a:lnTo>
                    <a:lnTo>
                      <a:pt x="620" y="628"/>
                    </a:lnTo>
                    <a:lnTo>
                      <a:pt x="611" y="625"/>
                    </a:lnTo>
                    <a:lnTo>
                      <a:pt x="601" y="624"/>
                    </a:lnTo>
                    <a:lnTo>
                      <a:pt x="591" y="625"/>
                    </a:lnTo>
                    <a:lnTo>
                      <a:pt x="579" y="628"/>
                    </a:lnTo>
                    <a:lnTo>
                      <a:pt x="566" y="633"/>
                    </a:lnTo>
                    <a:lnTo>
                      <a:pt x="552" y="641"/>
                    </a:lnTo>
                    <a:lnTo>
                      <a:pt x="543" y="646"/>
                    </a:lnTo>
                    <a:lnTo>
                      <a:pt x="536" y="652"/>
                    </a:lnTo>
                    <a:lnTo>
                      <a:pt x="530" y="659"/>
                    </a:lnTo>
                    <a:lnTo>
                      <a:pt x="525" y="666"/>
                    </a:lnTo>
                    <a:lnTo>
                      <a:pt x="520" y="673"/>
                    </a:lnTo>
                    <a:lnTo>
                      <a:pt x="514" y="678"/>
                    </a:lnTo>
                    <a:lnTo>
                      <a:pt x="511" y="680"/>
                    </a:lnTo>
                    <a:lnTo>
                      <a:pt x="508" y="683"/>
                    </a:lnTo>
                    <a:lnTo>
                      <a:pt x="503" y="684"/>
                    </a:lnTo>
                    <a:lnTo>
                      <a:pt x="499" y="684"/>
                    </a:lnTo>
                    <a:lnTo>
                      <a:pt x="491" y="684"/>
                    </a:lnTo>
                    <a:lnTo>
                      <a:pt x="486" y="682"/>
                    </a:lnTo>
                    <a:lnTo>
                      <a:pt x="481" y="679"/>
                    </a:lnTo>
                    <a:lnTo>
                      <a:pt x="477" y="676"/>
                    </a:lnTo>
                    <a:lnTo>
                      <a:pt x="470" y="668"/>
                    </a:lnTo>
                    <a:lnTo>
                      <a:pt x="465" y="659"/>
                    </a:lnTo>
                    <a:lnTo>
                      <a:pt x="458" y="650"/>
                    </a:lnTo>
                    <a:lnTo>
                      <a:pt x="451" y="642"/>
                    </a:lnTo>
                    <a:lnTo>
                      <a:pt x="446" y="639"/>
                    </a:lnTo>
                    <a:lnTo>
                      <a:pt x="441" y="637"/>
                    </a:lnTo>
                    <a:lnTo>
                      <a:pt x="433" y="635"/>
                    </a:lnTo>
                    <a:lnTo>
                      <a:pt x="425" y="635"/>
                    </a:lnTo>
                    <a:lnTo>
                      <a:pt x="421" y="635"/>
                    </a:lnTo>
                    <a:lnTo>
                      <a:pt x="417" y="638"/>
                    </a:lnTo>
                    <a:lnTo>
                      <a:pt x="412" y="640"/>
                    </a:lnTo>
                    <a:lnTo>
                      <a:pt x="409" y="644"/>
                    </a:lnTo>
                    <a:lnTo>
                      <a:pt x="405" y="647"/>
                    </a:lnTo>
                    <a:lnTo>
                      <a:pt x="401" y="650"/>
                    </a:lnTo>
                    <a:lnTo>
                      <a:pt x="397" y="652"/>
                    </a:lnTo>
                    <a:lnTo>
                      <a:pt x="392" y="653"/>
                    </a:lnTo>
                    <a:lnTo>
                      <a:pt x="384" y="652"/>
                    </a:lnTo>
                    <a:lnTo>
                      <a:pt x="376" y="651"/>
                    </a:lnTo>
                    <a:lnTo>
                      <a:pt x="369" y="648"/>
                    </a:lnTo>
                    <a:lnTo>
                      <a:pt x="363" y="645"/>
                    </a:lnTo>
                    <a:lnTo>
                      <a:pt x="350" y="638"/>
                    </a:lnTo>
                    <a:lnTo>
                      <a:pt x="339" y="629"/>
                    </a:lnTo>
                    <a:lnTo>
                      <a:pt x="327" y="619"/>
                    </a:lnTo>
                    <a:lnTo>
                      <a:pt x="312" y="611"/>
                    </a:lnTo>
                    <a:lnTo>
                      <a:pt x="306" y="608"/>
                    </a:lnTo>
                    <a:lnTo>
                      <a:pt x="297" y="606"/>
                    </a:lnTo>
                    <a:lnTo>
                      <a:pt x="289" y="604"/>
                    </a:lnTo>
                    <a:lnTo>
                      <a:pt x="279" y="603"/>
                    </a:lnTo>
                    <a:lnTo>
                      <a:pt x="271" y="604"/>
                    </a:lnTo>
                    <a:lnTo>
                      <a:pt x="262" y="606"/>
                    </a:lnTo>
                    <a:lnTo>
                      <a:pt x="253" y="610"/>
                    </a:lnTo>
                    <a:lnTo>
                      <a:pt x="245" y="615"/>
                    </a:lnTo>
                    <a:lnTo>
                      <a:pt x="237" y="620"/>
                    </a:lnTo>
                    <a:lnTo>
                      <a:pt x="229" y="628"/>
                    </a:lnTo>
                    <a:lnTo>
                      <a:pt x="222" y="636"/>
                    </a:lnTo>
                    <a:lnTo>
                      <a:pt x="216" y="644"/>
                    </a:lnTo>
                    <a:lnTo>
                      <a:pt x="209" y="653"/>
                    </a:lnTo>
                    <a:lnTo>
                      <a:pt x="204" y="662"/>
                    </a:lnTo>
                    <a:lnTo>
                      <a:pt x="198" y="671"/>
                    </a:lnTo>
                    <a:lnTo>
                      <a:pt x="194" y="682"/>
                    </a:lnTo>
                    <a:lnTo>
                      <a:pt x="190" y="692"/>
                    </a:lnTo>
                    <a:lnTo>
                      <a:pt x="188" y="702"/>
                    </a:lnTo>
                    <a:lnTo>
                      <a:pt x="187" y="711"/>
                    </a:lnTo>
                    <a:lnTo>
                      <a:pt x="186" y="720"/>
                    </a:lnTo>
                    <a:lnTo>
                      <a:pt x="178" y="719"/>
                    </a:lnTo>
                    <a:lnTo>
                      <a:pt x="172" y="717"/>
                    </a:lnTo>
                    <a:lnTo>
                      <a:pt x="164" y="712"/>
                    </a:lnTo>
                    <a:lnTo>
                      <a:pt x="156" y="708"/>
                    </a:lnTo>
                    <a:lnTo>
                      <a:pt x="149" y="702"/>
                    </a:lnTo>
                    <a:lnTo>
                      <a:pt x="141" y="697"/>
                    </a:lnTo>
                    <a:lnTo>
                      <a:pt x="134" y="693"/>
                    </a:lnTo>
                    <a:lnTo>
                      <a:pt x="127" y="690"/>
                    </a:lnTo>
                    <a:lnTo>
                      <a:pt x="100" y="740"/>
                    </a:lnTo>
                    <a:lnTo>
                      <a:pt x="73" y="740"/>
                    </a:lnTo>
                    <a:lnTo>
                      <a:pt x="70" y="725"/>
                    </a:lnTo>
                    <a:lnTo>
                      <a:pt x="67" y="712"/>
                    </a:lnTo>
                    <a:lnTo>
                      <a:pt x="66" y="699"/>
                    </a:lnTo>
                    <a:lnTo>
                      <a:pt x="66" y="686"/>
                    </a:lnTo>
                    <a:lnTo>
                      <a:pt x="66" y="672"/>
                    </a:lnTo>
                    <a:lnTo>
                      <a:pt x="66" y="658"/>
                    </a:lnTo>
                    <a:lnTo>
                      <a:pt x="64" y="644"/>
                    </a:lnTo>
                    <a:lnTo>
                      <a:pt x="60" y="629"/>
                    </a:lnTo>
                    <a:lnTo>
                      <a:pt x="58" y="622"/>
                    </a:lnTo>
                    <a:lnTo>
                      <a:pt x="53" y="618"/>
                    </a:lnTo>
                    <a:lnTo>
                      <a:pt x="50" y="613"/>
                    </a:lnTo>
                    <a:lnTo>
                      <a:pt x="46" y="609"/>
                    </a:lnTo>
                    <a:lnTo>
                      <a:pt x="36" y="601"/>
                    </a:lnTo>
                    <a:lnTo>
                      <a:pt x="25" y="592"/>
                    </a:lnTo>
                    <a:lnTo>
                      <a:pt x="20" y="587"/>
                    </a:lnTo>
                    <a:lnTo>
                      <a:pt x="16" y="581"/>
                    </a:lnTo>
                    <a:lnTo>
                      <a:pt x="11" y="575"/>
                    </a:lnTo>
                    <a:lnTo>
                      <a:pt x="8" y="566"/>
                    </a:lnTo>
                    <a:lnTo>
                      <a:pt x="5" y="558"/>
                    </a:lnTo>
                    <a:lnTo>
                      <a:pt x="3" y="548"/>
                    </a:lnTo>
                    <a:lnTo>
                      <a:pt x="0" y="537"/>
                    </a:lnTo>
                    <a:lnTo>
                      <a:pt x="0" y="524"/>
                    </a:lnTo>
                    <a:lnTo>
                      <a:pt x="53" y="530"/>
                    </a:lnTo>
                    <a:lnTo>
                      <a:pt x="59" y="526"/>
                    </a:lnTo>
                    <a:lnTo>
                      <a:pt x="64" y="522"/>
                    </a:lnTo>
                    <a:lnTo>
                      <a:pt x="71" y="520"/>
                    </a:lnTo>
                    <a:lnTo>
                      <a:pt x="76" y="518"/>
                    </a:lnTo>
                    <a:lnTo>
                      <a:pt x="91" y="514"/>
                    </a:lnTo>
                    <a:lnTo>
                      <a:pt x="106" y="512"/>
                    </a:lnTo>
                    <a:lnTo>
                      <a:pt x="121" y="511"/>
                    </a:lnTo>
                    <a:lnTo>
                      <a:pt x="139" y="510"/>
                    </a:lnTo>
                    <a:lnTo>
                      <a:pt x="155" y="508"/>
                    </a:lnTo>
                    <a:lnTo>
                      <a:pt x="173" y="505"/>
                    </a:lnTo>
                    <a:lnTo>
                      <a:pt x="177" y="503"/>
                    </a:lnTo>
                    <a:lnTo>
                      <a:pt x="182" y="500"/>
                    </a:lnTo>
                    <a:lnTo>
                      <a:pt x="185" y="497"/>
                    </a:lnTo>
                    <a:lnTo>
                      <a:pt x="189" y="494"/>
                    </a:lnTo>
                    <a:lnTo>
                      <a:pt x="196" y="485"/>
                    </a:lnTo>
                    <a:lnTo>
                      <a:pt x="201" y="475"/>
                    </a:lnTo>
                    <a:lnTo>
                      <a:pt x="207" y="464"/>
                    </a:lnTo>
                    <a:lnTo>
                      <a:pt x="211" y="451"/>
                    </a:lnTo>
                    <a:lnTo>
                      <a:pt x="216" y="438"/>
                    </a:lnTo>
                    <a:lnTo>
                      <a:pt x="219" y="424"/>
                    </a:lnTo>
                    <a:lnTo>
                      <a:pt x="221" y="410"/>
                    </a:lnTo>
                    <a:lnTo>
                      <a:pt x="223" y="395"/>
                    </a:lnTo>
                    <a:lnTo>
                      <a:pt x="224" y="381"/>
                    </a:lnTo>
                    <a:lnTo>
                      <a:pt x="224" y="367"/>
                    </a:lnTo>
                    <a:lnTo>
                      <a:pt x="224" y="354"/>
                    </a:lnTo>
                    <a:lnTo>
                      <a:pt x="223" y="341"/>
                    </a:lnTo>
                    <a:lnTo>
                      <a:pt x="221" y="330"/>
                    </a:lnTo>
                    <a:lnTo>
                      <a:pt x="219" y="320"/>
                    </a:lnTo>
                    <a:lnTo>
                      <a:pt x="219" y="283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lIns="91429" tIns="45715" rIns="91429" bIns="45715"/>
              <a:lstStyle/>
              <a:p>
                <a:endParaRPr lang="de-DE" dirty="0"/>
              </a:p>
            </p:txBody>
          </p:sp>
          <p:sp>
            <p:nvSpPr>
              <p:cNvPr id="70" name="Freeform 546"/>
              <p:cNvSpPr>
                <a:spLocks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2688068" y="1854200"/>
                <a:ext cx="631246" cy="463116"/>
              </a:xfrm>
              <a:custGeom>
                <a:avLst/>
                <a:gdLst/>
                <a:ahLst/>
                <a:cxnLst>
                  <a:cxn ang="0">
                    <a:pos x="648" y="53"/>
                  </a:cxn>
                  <a:cxn ang="0">
                    <a:pos x="657" y="161"/>
                  </a:cxn>
                  <a:cxn ang="0">
                    <a:pos x="661" y="167"/>
                  </a:cxn>
                  <a:cxn ang="0">
                    <a:pos x="677" y="177"/>
                  </a:cxn>
                  <a:cxn ang="0">
                    <a:pos x="694" y="189"/>
                  </a:cxn>
                  <a:cxn ang="0">
                    <a:pos x="697" y="198"/>
                  </a:cxn>
                  <a:cxn ang="0">
                    <a:pos x="694" y="211"/>
                  </a:cxn>
                  <a:cxn ang="0">
                    <a:pos x="685" y="217"/>
                  </a:cxn>
                  <a:cxn ang="0">
                    <a:pos x="655" y="218"/>
                  </a:cxn>
                  <a:cxn ang="0">
                    <a:pos x="605" y="228"/>
                  </a:cxn>
                  <a:cxn ang="0">
                    <a:pos x="567" y="250"/>
                  </a:cxn>
                  <a:cxn ang="0">
                    <a:pos x="549" y="267"/>
                  </a:cxn>
                  <a:cxn ang="0">
                    <a:pos x="539" y="288"/>
                  </a:cxn>
                  <a:cxn ang="0">
                    <a:pos x="521" y="302"/>
                  </a:cxn>
                  <a:cxn ang="0">
                    <a:pos x="491" y="324"/>
                  </a:cxn>
                  <a:cxn ang="0">
                    <a:pos x="455" y="352"/>
                  </a:cxn>
                  <a:cxn ang="0">
                    <a:pos x="420" y="370"/>
                  </a:cxn>
                  <a:cxn ang="0">
                    <a:pos x="372" y="377"/>
                  </a:cxn>
                  <a:cxn ang="0">
                    <a:pos x="344" y="380"/>
                  </a:cxn>
                  <a:cxn ang="0">
                    <a:pos x="316" y="396"/>
                  </a:cxn>
                  <a:cxn ang="0">
                    <a:pos x="290" y="417"/>
                  </a:cxn>
                  <a:cxn ang="0">
                    <a:pos x="265" y="426"/>
                  </a:cxn>
                  <a:cxn ang="0">
                    <a:pos x="5" y="496"/>
                  </a:cxn>
                  <a:cxn ang="0">
                    <a:pos x="32" y="487"/>
                  </a:cxn>
                  <a:cxn ang="0">
                    <a:pos x="85" y="473"/>
                  </a:cxn>
                  <a:cxn ang="0">
                    <a:pos x="93" y="459"/>
                  </a:cxn>
                  <a:cxn ang="0">
                    <a:pos x="99" y="438"/>
                  </a:cxn>
                  <a:cxn ang="0">
                    <a:pos x="119" y="422"/>
                  </a:cxn>
                  <a:cxn ang="0">
                    <a:pos x="160" y="399"/>
                  </a:cxn>
                  <a:cxn ang="0">
                    <a:pos x="181" y="382"/>
                  </a:cxn>
                  <a:cxn ang="0">
                    <a:pos x="192" y="357"/>
                  </a:cxn>
                  <a:cxn ang="0">
                    <a:pos x="193" y="316"/>
                  </a:cxn>
                  <a:cxn ang="0">
                    <a:pos x="195" y="254"/>
                  </a:cxn>
                  <a:cxn ang="0">
                    <a:pos x="192" y="192"/>
                  </a:cxn>
                  <a:cxn ang="0">
                    <a:pos x="214" y="189"/>
                  </a:cxn>
                  <a:cxn ang="0">
                    <a:pos x="228" y="179"/>
                  </a:cxn>
                  <a:cxn ang="0">
                    <a:pos x="241" y="165"/>
                  </a:cxn>
                  <a:cxn ang="0">
                    <a:pos x="252" y="152"/>
                  </a:cxn>
                  <a:cxn ang="0">
                    <a:pos x="281" y="146"/>
                  </a:cxn>
                  <a:cxn ang="0">
                    <a:pos x="314" y="143"/>
                  </a:cxn>
                  <a:cxn ang="0">
                    <a:pos x="340" y="131"/>
                  </a:cxn>
                  <a:cxn ang="0">
                    <a:pos x="360" y="108"/>
                  </a:cxn>
                  <a:cxn ang="0">
                    <a:pos x="388" y="48"/>
                  </a:cxn>
                  <a:cxn ang="0">
                    <a:pos x="407" y="12"/>
                  </a:cxn>
                  <a:cxn ang="0">
                    <a:pos x="426" y="8"/>
                  </a:cxn>
                  <a:cxn ang="0">
                    <a:pos x="449" y="20"/>
                  </a:cxn>
                  <a:cxn ang="0">
                    <a:pos x="512" y="18"/>
                  </a:cxn>
                  <a:cxn ang="0">
                    <a:pos x="590" y="13"/>
                  </a:cxn>
                  <a:cxn ang="0">
                    <a:pos x="597" y="17"/>
                  </a:cxn>
                  <a:cxn ang="0">
                    <a:pos x="605" y="36"/>
                  </a:cxn>
                  <a:cxn ang="0">
                    <a:pos x="611" y="51"/>
                  </a:cxn>
                  <a:cxn ang="0">
                    <a:pos x="618" y="50"/>
                  </a:cxn>
                </a:cxnLst>
                <a:rect l="0" t="0" r="r" b="b"/>
                <a:pathLst>
                  <a:path w="697" h="500">
                    <a:moveTo>
                      <a:pt x="631" y="50"/>
                    </a:moveTo>
                    <a:lnTo>
                      <a:pt x="635" y="51"/>
                    </a:lnTo>
                    <a:lnTo>
                      <a:pt x="648" y="53"/>
                    </a:lnTo>
                    <a:lnTo>
                      <a:pt x="659" y="55"/>
                    </a:lnTo>
                    <a:lnTo>
                      <a:pt x="664" y="56"/>
                    </a:lnTo>
                    <a:lnTo>
                      <a:pt x="657" y="161"/>
                    </a:lnTo>
                    <a:lnTo>
                      <a:pt x="657" y="163"/>
                    </a:lnTo>
                    <a:lnTo>
                      <a:pt x="659" y="165"/>
                    </a:lnTo>
                    <a:lnTo>
                      <a:pt x="661" y="167"/>
                    </a:lnTo>
                    <a:lnTo>
                      <a:pt x="664" y="169"/>
                    </a:lnTo>
                    <a:lnTo>
                      <a:pt x="669" y="173"/>
                    </a:lnTo>
                    <a:lnTo>
                      <a:pt x="677" y="177"/>
                    </a:lnTo>
                    <a:lnTo>
                      <a:pt x="685" y="181"/>
                    </a:lnTo>
                    <a:lnTo>
                      <a:pt x="691" y="185"/>
                    </a:lnTo>
                    <a:lnTo>
                      <a:pt x="694" y="189"/>
                    </a:lnTo>
                    <a:lnTo>
                      <a:pt x="696" y="192"/>
                    </a:lnTo>
                    <a:lnTo>
                      <a:pt x="697" y="195"/>
                    </a:lnTo>
                    <a:lnTo>
                      <a:pt x="697" y="198"/>
                    </a:lnTo>
                    <a:lnTo>
                      <a:pt x="697" y="203"/>
                    </a:lnTo>
                    <a:lnTo>
                      <a:pt x="696" y="208"/>
                    </a:lnTo>
                    <a:lnTo>
                      <a:pt x="694" y="211"/>
                    </a:lnTo>
                    <a:lnTo>
                      <a:pt x="691" y="214"/>
                    </a:lnTo>
                    <a:lnTo>
                      <a:pt x="688" y="216"/>
                    </a:lnTo>
                    <a:lnTo>
                      <a:pt x="685" y="217"/>
                    </a:lnTo>
                    <a:lnTo>
                      <a:pt x="680" y="218"/>
                    </a:lnTo>
                    <a:lnTo>
                      <a:pt x="676" y="219"/>
                    </a:lnTo>
                    <a:lnTo>
                      <a:pt x="655" y="218"/>
                    </a:lnTo>
                    <a:lnTo>
                      <a:pt x="631" y="216"/>
                    </a:lnTo>
                    <a:lnTo>
                      <a:pt x="619" y="221"/>
                    </a:lnTo>
                    <a:lnTo>
                      <a:pt x="605" y="228"/>
                    </a:lnTo>
                    <a:lnTo>
                      <a:pt x="589" y="235"/>
                    </a:lnTo>
                    <a:lnTo>
                      <a:pt x="574" y="245"/>
                    </a:lnTo>
                    <a:lnTo>
                      <a:pt x="567" y="250"/>
                    </a:lnTo>
                    <a:lnTo>
                      <a:pt x="560" y="256"/>
                    </a:lnTo>
                    <a:lnTo>
                      <a:pt x="554" y="261"/>
                    </a:lnTo>
                    <a:lnTo>
                      <a:pt x="549" y="267"/>
                    </a:lnTo>
                    <a:lnTo>
                      <a:pt x="544" y="274"/>
                    </a:lnTo>
                    <a:lnTo>
                      <a:pt x="541" y="281"/>
                    </a:lnTo>
                    <a:lnTo>
                      <a:pt x="539" y="288"/>
                    </a:lnTo>
                    <a:lnTo>
                      <a:pt x="538" y="296"/>
                    </a:lnTo>
                    <a:lnTo>
                      <a:pt x="529" y="299"/>
                    </a:lnTo>
                    <a:lnTo>
                      <a:pt x="521" y="302"/>
                    </a:lnTo>
                    <a:lnTo>
                      <a:pt x="514" y="306"/>
                    </a:lnTo>
                    <a:lnTo>
                      <a:pt x="506" y="312"/>
                    </a:lnTo>
                    <a:lnTo>
                      <a:pt x="491" y="324"/>
                    </a:lnTo>
                    <a:lnTo>
                      <a:pt x="475" y="339"/>
                    </a:lnTo>
                    <a:lnTo>
                      <a:pt x="465" y="346"/>
                    </a:lnTo>
                    <a:lnTo>
                      <a:pt x="455" y="352"/>
                    </a:lnTo>
                    <a:lnTo>
                      <a:pt x="445" y="360"/>
                    </a:lnTo>
                    <a:lnTo>
                      <a:pt x="433" y="365"/>
                    </a:lnTo>
                    <a:lnTo>
                      <a:pt x="420" y="370"/>
                    </a:lnTo>
                    <a:lnTo>
                      <a:pt x="406" y="373"/>
                    </a:lnTo>
                    <a:lnTo>
                      <a:pt x="389" y="376"/>
                    </a:lnTo>
                    <a:lnTo>
                      <a:pt x="372" y="377"/>
                    </a:lnTo>
                    <a:lnTo>
                      <a:pt x="361" y="377"/>
                    </a:lnTo>
                    <a:lnTo>
                      <a:pt x="352" y="378"/>
                    </a:lnTo>
                    <a:lnTo>
                      <a:pt x="344" y="380"/>
                    </a:lnTo>
                    <a:lnTo>
                      <a:pt x="337" y="382"/>
                    </a:lnTo>
                    <a:lnTo>
                      <a:pt x="326" y="389"/>
                    </a:lnTo>
                    <a:lnTo>
                      <a:pt x="316" y="396"/>
                    </a:lnTo>
                    <a:lnTo>
                      <a:pt x="306" y="404"/>
                    </a:lnTo>
                    <a:lnTo>
                      <a:pt x="296" y="413"/>
                    </a:lnTo>
                    <a:lnTo>
                      <a:pt x="290" y="417"/>
                    </a:lnTo>
                    <a:lnTo>
                      <a:pt x="283" y="420"/>
                    </a:lnTo>
                    <a:lnTo>
                      <a:pt x="274" y="423"/>
                    </a:lnTo>
                    <a:lnTo>
                      <a:pt x="265" y="426"/>
                    </a:lnTo>
                    <a:lnTo>
                      <a:pt x="272" y="494"/>
                    </a:lnTo>
                    <a:lnTo>
                      <a:pt x="0" y="500"/>
                    </a:lnTo>
                    <a:lnTo>
                      <a:pt x="5" y="496"/>
                    </a:lnTo>
                    <a:lnTo>
                      <a:pt x="13" y="492"/>
                    </a:lnTo>
                    <a:lnTo>
                      <a:pt x="22" y="490"/>
                    </a:lnTo>
                    <a:lnTo>
                      <a:pt x="32" y="487"/>
                    </a:lnTo>
                    <a:lnTo>
                      <a:pt x="55" y="483"/>
                    </a:lnTo>
                    <a:lnTo>
                      <a:pt x="80" y="475"/>
                    </a:lnTo>
                    <a:lnTo>
                      <a:pt x="85" y="473"/>
                    </a:lnTo>
                    <a:lnTo>
                      <a:pt x="90" y="469"/>
                    </a:lnTo>
                    <a:lnTo>
                      <a:pt x="92" y="465"/>
                    </a:lnTo>
                    <a:lnTo>
                      <a:pt x="93" y="459"/>
                    </a:lnTo>
                    <a:lnTo>
                      <a:pt x="93" y="451"/>
                    </a:lnTo>
                    <a:lnTo>
                      <a:pt x="93" y="444"/>
                    </a:lnTo>
                    <a:lnTo>
                      <a:pt x="99" y="438"/>
                    </a:lnTo>
                    <a:lnTo>
                      <a:pt x="104" y="432"/>
                    </a:lnTo>
                    <a:lnTo>
                      <a:pt x="112" y="427"/>
                    </a:lnTo>
                    <a:lnTo>
                      <a:pt x="119" y="422"/>
                    </a:lnTo>
                    <a:lnTo>
                      <a:pt x="136" y="414"/>
                    </a:lnTo>
                    <a:lnTo>
                      <a:pt x="152" y="404"/>
                    </a:lnTo>
                    <a:lnTo>
                      <a:pt x="160" y="399"/>
                    </a:lnTo>
                    <a:lnTo>
                      <a:pt x="168" y="394"/>
                    </a:lnTo>
                    <a:lnTo>
                      <a:pt x="174" y="388"/>
                    </a:lnTo>
                    <a:lnTo>
                      <a:pt x="181" y="382"/>
                    </a:lnTo>
                    <a:lnTo>
                      <a:pt x="185" y="375"/>
                    </a:lnTo>
                    <a:lnTo>
                      <a:pt x="189" y="366"/>
                    </a:lnTo>
                    <a:lnTo>
                      <a:pt x="192" y="357"/>
                    </a:lnTo>
                    <a:lnTo>
                      <a:pt x="192" y="345"/>
                    </a:lnTo>
                    <a:lnTo>
                      <a:pt x="193" y="332"/>
                    </a:lnTo>
                    <a:lnTo>
                      <a:pt x="193" y="316"/>
                    </a:lnTo>
                    <a:lnTo>
                      <a:pt x="194" y="296"/>
                    </a:lnTo>
                    <a:lnTo>
                      <a:pt x="195" y="275"/>
                    </a:lnTo>
                    <a:lnTo>
                      <a:pt x="195" y="254"/>
                    </a:lnTo>
                    <a:lnTo>
                      <a:pt x="195" y="232"/>
                    </a:lnTo>
                    <a:lnTo>
                      <a:pt x="194" y="211"/>
                    </a:lnTo>
                    <a:lnTo>
                      <a:pt x="192" y="192"/>
                    </a:lnTo>
                    <a:lnTo>
                      <a:pt x="201" y="192"/>
                    </a:lnTo>
                    <a:lnTo>
                      <a:pt x="207" y="190"/>
                    </a:lnTo>
                    <a:lnTo>
                      <a:pt x="214" y="189"/>
                    </a:lnTo>
                    <a:lnTo>
                      <a:pt x="219" y="185"/>
                    </a:lnTo>
                    <a:lnTo>
                      <a:pt x="224" y="182"/>
                    </a:lnTo>
                    <a:lnTo>
                      <a:pt x="228" y="179"/>
                    </a:lnTo>
                    <a:lnTo>
                      <a:pt x="232" y="176"/>
                    </a:lnTo>
                    <a:lnTo>
                      <a:pt x="236" y="172"/>
                    </a:lnTo>
                    <a:lnTo>
                      <a:pt x="241" y="165"/>
                    </a:lnTo>
                    <a:lnTo>
                      <a:pt x="247" y="158"/>
                    </a:lnTo>
                    <a:lnTo>
                      <a:pt x="249" y="155"/>
                    </a:lnTo>
                    <a:lnTo>
                      <a:pt x="252" y="152"/>
                    </a:lnTo>
                    <a:lnTo>
                      <a:pt x="256" y="150"/>
                    </a:lnTo>
                    <a:lnTo>
                      <a:pt x="259" y="149"/>
                    </a:lnTo>
                    <a:lnTo>
                      <a:pt x="281" y="146"/>
                    </a:lnTo>
                    <a:lnTo>
                      <a:pt x="297" y="145"/>
                    </a:lnTo>
                    <a:lnTo>
                      <a:pt x="306" y="144"/>
                    </a:lnTo>
                    <a:lnTo>
                      <a:pt x="314" y="143"/>
                    </a:lnTo>
                    <a:lnTo>
                      <a:pt x="323" y="140"/>
                    </a:lnTo>
                    <a:lnTo>
                      <a:pt x="331" y="137"/>
                    </a:lnTo>
                    <a:lnTo>
                      <a:pt x="340" y="131"/>
                    </a:lnTo>
                    <a:lnTo>
                      <a:pt x="348" y="124"/>
                    </a:lnTo>
                    <a:lnTo>
                      <a:pt x="354" y="116"/>
                    </a:lnTo>
                    <a:lnTo>
                      <a:pt x="360" y="108"/>
                    </a:lnTo>
                    <a:lnTo>
                      <a:pt x="371" y="89"/>
                    </a:lnTo>
                    <a:lnTo>
                      <a:pt x="380" y="68"/>
                    </a:lnTo>
                    <a:lnTo>
                      <a:pt x="388" y="48"/>
                    </a:lnTo>
                    <a:lnTo>
                      <a:pt x="397" y="29"/>
                    </a:lnTo>
                    <a:lnTo>
                      <a:pt x="402" y="21"/>
                    </a:lnTo>
                    <a:lnTo>
                      <a:pt x="407" y="12"/>
                    </a:lnTo>
                    <a:lnTo>
                      <a:pt x="413" y="6"/>
                    </a:lnTo>
                    <a:lnTo>
                      <a:pt x="418" y="0"/>
                    </a:lnTo>
                    <a:lnTo>
                      <a:pt x="426" y="8"/>
                    </a:lnTo>
                    <a:lnTo>
                      <a:pt x="433" y="14"/>
                    </a:lnTo>
                    <a:lnTo>
                      <a:pt x="441" y="17"/>
                    </a:lnTo>
                    <a:lnTo>
                      <a:pt x="449" y="20"/>
                    </a:lnTo>
                    <a:lnTo>
                      <a:pt x="465" y="20"/>
                    </a:lnTo>
                    <a:lnTo>
                      <a:pt x="485" y="20"/>
                    </a:lnTo>
                    <a:lnTo>
                      <a:pt x="512" y="18"/>
                    </a:lnTo>
                    <a:lnTo>
                      <a:pt x="543" y="16"/>
                    </a:lnTo>
                    <a:lnTo>
                      <a:pt x="571" y="14"/>
                    </a:lnTo>
                    <a:lnTo>
                      <a:pt x="590" y="13"/>
                    </a:lnTo>
                    <a:lnTo>
                      <a:pt x="594" y="13"/>
                    </a:lnTo>
                    <a:lnTo>
                      <a:pt x="595" y="15"/>
                    </a:lnTo>
                    <a:lnTo>
                      <a:pt x="597" y="17"/>
                    </a:lnTo>
                    <a:lnTo>
                      <a:pt x="599" y="21"/>
                    </a:lnTo>
                    <a:lnTo>
                      <a:pt x="601" y="28"/>
                    </a:lnTo>
                    <a:lnTo>
                      <a:pt x="605" y="36"/>
                    </a:lnTo>
                    <a:lnTo>
                      <a:pt x="607" y="44"/>
                    </a:lnTo>
                    <a:lnTo>
                      <a:pt x="609" y="49"/>
                    </a:lnTo>
                    <a:lnTo>
                      <a:pt x="611" y="51"/>
                    </a:lnTo>
                    <a:lnTo>
                      <a:pt x="613" y="52"/>
                    </a:lnTo>
                    <a:lnTo>
                      <a:pt x="615" y="51"/>
                    </a:lnTo>
                    <a:lnTo>
                      <a:pt x="618" y="50"/>
                    </a:lnTo>
                    <a:lnTo>
                      <a:pt x="631" y="50"/>
                    </a:lnTo>
                  </a:path>
                </a:pathLst>
              </a:custGeom>
              <a:solidFill>
                <a:srgbClr val="A6A6A6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1429" tIns="45715" rIns="91429" bIns="45715"/>
              <a:lstStyle/>
              <a:p>
                <a:endParaRPr lang="de-DE" dirty="0">
                  <a:solidFill>
                    <a:srgbClr val="CCCCCC"/>
                  </a:solidFill>
                </a:endParaRPr>
              </a:p>
            </p:txBody>
          </p:sp>
          <p:sp>
            <p:nvSpPr>
              <p:cNvPr id="77" name="Textfeld 583"/>
              <p:cNvSpPr txBox="1"/>
              <p:nvPr/>
            </p:nvSpPr>
            <p:spPr>
              <a:xfrm>
                <a:off x="-1055202" y="3134420"/>
                <a:ext cx="2951714" cy="2807433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50000"/>
                  </a:schemeClr>
                </a:solidFill>
              </a:ln>
              <a:effectLst>
                <a:outerShdw blurRad="50800" dist="50800" dir="3000000" rotWithShape="0">
                  <a:srgbClr val="000000">
                    <a:alpha val="38000"/>
                  </a:srgbClr>
                </a:outerShdw>
                <a:softEdge rad="12700"/>
              </a:effectLst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400" dirty="0" smtClean="0">
                    <a:solidFill>
                      <a:srgbClr val="C00000"/>
                    </a:solidFill>
                  </a:rPr>
                  <a:t>Namibia</a:t>
                </a:r>
              </a:p>
              <a:p>
                <a:pPr>
                  <a:spcBef>
                    <a:spcPts val="300"/>
                  </a:spcBef>
                </a:pPr>
                <a:r>
                  <a:rPr lang="en-US" sz="1400" b="0" dirty="0">
                    <a:solidFill>
                      <a:srgbClr val="C00000"/>
                    </a:solidFill>
                  </a:rPr>
                  <a:t>Past areas: </a:t>
                </a:r>
                <a:r>
                  <a:rPr lang="en-US" sz="1400" b="0" dirty="0">
                    <a:solidFill>
                      <a:schemeClr val="tx1"/>
                    </a:solidFill>
                  </a:rPr>
                  <a:t>Water (national in 2006, Okavango in 2010), Forestry &amp; wildlife </a:t>
                </a:r>
                <a:r>
                  <a:rPr lang="en-US" sz="1400" b="0" dirty="0" smtClean="0">
                    <a:solidFill>
                      <a:schemeClr val="tx1"/>
                    </a:solidFill>
                  </a:rPr>
                  <a:t>(in 2004), Tourism (since 2006)</a:t>
                </a:r>
              </a:p>
              <a:p>
                <a:pPr>
                  <a:spcBef>
                    <a:spcPts val="300"/>
                  </a:spcBef>
                </a:pPr>
                <a:endParaRPr lang="en-US" sz="1400" b="0" dirty="0" smtClean="0">
                  <a:solidFill>
                    <a:schemeClr val="tx1"/>
                  </a:solidFill>
                </a:endParaRPr>
              </a:p>
              <a:p>
                <a:pPr>
                  <a:spcBef>
                    <a:spcPts val="300"/>
                  </a:spcBef>
                </a:pPr>
                <a:r>
                  <a:rPr lang="en-US" sz="1400" b="0" dirty="0" smtClean="0">
                    <a:solidFill>
                      <a:srgbClr val="C00000"/>
                    </a:solidFill>
                  </a:rPr>
                  <a:t>Purpose (tourism accounts): </a:t>
                </a:r>
                <a:r>
                  <a:rPr lang="en-US" sz="1400" b="0" dirty="0" smtClean="0">
                    <a:solidFill>
                      <a:schemeClr val="tx1"/>
                    </a:solidFill>
                  </a:rPr>
                  <a:t>industry performance and contribution to GDP (3,9 %) and employment (5,3 %) </a:t>
                </a:r>
              </a:p>
              <a:p>
                <a:pPr>
                  <a:spcBef>
                    <a:spcPts val="300"/>
                  </a:spcBef>
                </a:pPr>
                <a:r>
                  <a:rPr lang="en-US" sz="1100" b="0" dirty="0" smtClean="0">
                    <a:solidFill>
                      <a:schemeClr val="tx1"/>
                    </a:solidFill>
                  </a:rPr>
                  <a:t>[2012]</a:t>
                </a:r>
              </a:p>
            </p:txBody>
          </p:sp>
          <p:cxnSp>
            <p:nvCxnSpPr>
              <p:cNvPr id="78" name="Gerader Verbinder 591"/>
              <p:cNvCxnSpPr>
                <a:endCxn id="77" idx="3"/>
              </p:cNvCxnSpPr>
              <p:nvPr/>
            </p:nvCxnSpPr>
            <p:spPr>
              <a:xfrm flipH="1" flipV="1">
                <a:off x="1896512" y="4538137"/>
                <a:ext cx="2241080" cy="615639"/>
              </a:xfrm>
              <a:prstGeom prst="line">
                <a:avLst/>
              </a:prstGeom>
              <a:ln w="6350"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98" name="Titel 1"/>
          <p:cNvSpPr>
            <a:spLocks noGrp="1"/>
          </p:cNvSpPr>
          <p:nvPr>
            <p:ph type="title"/>
          </p:nvPr>
        </p:nvSpPr>
        <p:spPr>
          <a:xfrm>
            <a:off x="1074380" y="1258257"/>
            <a:ext cx="7572054" cy="697475"/>
          </a:xfrm>
        </p:spPr>
        <p:txBody>
          <a:bodyPr/>
          <a:lstStyle/>
          <a:p>
            <a:r>
              <a:rPr lang="en-US" dirty="0" smtClean="0"/>
              <a:t>Background on </a:t>
            </a:r>
            <a:r>
              <a:rPr lang="en-US" dirty="0" smtClean="0"/>
              <a:t>Natural Capital Accounting in Namibia </a:t>
            </a:r>
            <a:endParaRPr lang="en-US" baseline="30000" dirty="0"/>
          </a:p>
        </p:txBody>
      </p:sp>
      <p:sp>
        <p:nvSpPr>
          <p:cNvPr id="109" name="Fußzeilenplatzhalter 3"/>
          <p:cNvSpPr txBox="1">
            <a:spLocks/>
          </p:cNvSpPr>
          <p:nvPr/>
        </p:nvSpPr>
        <p:spPr>
          <a:xfrm>
            <a:off x="3013720" y="6611779"/>
            <a:ext cx="3418449" cy="246221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0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4D4D4D"/>
                </a:solidFill>
                <a:latin typeface="Gill Sans MT"/>
                <a:cs typeface="Helvetica"/>
              </a:rPr>
              <a:t>SEEA Training  |  11-13-2017  | Nairobi, Kenya</a:t>
            </a:r>
          </a:p>
        </p:txBody>
      </p:sp>
    </p:spTree>
    <p:extLst>
      <p:ext uri="{BB962C8B-B14F-4D97-AF65-F5344CB8AC3E}">
        <p14:creationId xmlns:p14="http://schemas.microsoft.com/office/powerpoint/2010/main" val="4239566286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2932" y="1962249"/>
            <a:ext cx="7776000" cy="617928"/>
          </a:xfrm>
        </p:spPr>
        <p:txBody>
          <a:bodyPr/>
          <a:lstStyle/>
          <a:p>
            <a:r>
              <a:rPr lang="en-ZA" dirty="0"/>
              <a:t>Methodology: SEEA-Water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8FE8AF5D-14E7-4A90-98FB-F1C241D9EC78}" type="datetime1">
              <a:rPr lang="en-GB" noProof="0" smtClean="0"/>
              <a:pPr/>
              <a:t>08/12/2017</a:t>
            </a:fld>
            <a:endParaRPr lang="de-DE" noProof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92931" y="2734686"/>
            <a:ext cx="7776000" cy="4326143"/>
          </a:xfrm>
        </p:spPr>
        <p:txBody>
          <a:bodyPr/>
          <a:lstStyle/>
          <a:p>
            <a:r>
              <a:rPr lang="en-ZA" b="1" dirty="0">
                <a:solidFill>
                  <a:schemeClr val="tx1"/>
                </a:solidFill>
              </a:rPr>
              <a:t>Three methodological components specific to Namibian conditions:</a:t>
            </a:r>
          </a:p>
          <a:p>
            <a:pPr marL="342900" indent="-342900">
              <a:buFont typeface="+mj-lt"/>
              <a:buAutoNum type="arabicPeriod"/>
            </a:pPr>
            <a:r>
              <a:rPr lang="en-ZA" dirty="0">
                <a:solidFill>
                  <a:schemeClr val="tx1"/>
                </a:solidFill>
              </a:rPr>
              <a:t>Physical system of flows for rainfall, surface water and groundwater</a:t>
            </a:r>
          </a:p>
          <a:p>
            <a:pPr marL="342900" indent="-342900">
              <a:buFont typeface="+mj-lt"/>
              <a:buAutoNum type="arabicPeriod"/>
            </a:pPr>
            <a:r>
              <a:rPr lang="en-ZA" dirty="0">
                <a:solidFill>
                  <a:schemeClr val="tx1"/>
                </a:solidFill>
              </a:rPr>
              <a:t>Water supply structure and distribution, comprising the classification of activities and products as well as physical supply and use tables</a:t>
            </a:r>
          </a:p>
          <a:p>
            <a:pPr marL="342900" indent="-342900">
              <a:buFont typeface="+mj-lt"/>
              <a:buAutoNum type="arabicPeriod"/>
            </a:pPr>
            <a:r>
              <a:rPr lang="en-ZA" dirty="0">
                <a:solidFill>
                  <a:schemeClr val="tx1"/>
                </a:solidFill>
              </a:rPr>
              <a:t>Economic use and value of water </a:t>
            </a:r>
          </a:p>
          <a:p>
            <a:endParaRPr lang="en-ZA" dirty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4D4D4D"/>
                </a:solidFill>
                <a:latin typeface="Gill Sans MT"/>
                <a:cs typeface="Helvetica"/>
              </a:rPr>
              <a:t>SEEA Training  |  11-13-2017  | Nairobi, Kenya</a:t>
            </a:r>
          </a:p>
        </p:txBody>
      </p:sp>
      <p:sp>
        <p:nvSpPr>
          <p:cNvPr id="6" name="Rectangle 5"/>
          <p:cNvSpPr/>
          <p:nvPr/>
        </p:nvSpPr>
        <p:spPr>
          <a:xfrm>
            <a:off x="1088409" y="1238664"/>
            <a:ext cx="696718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ZA" kern="0" dirty="0" smtClean="0">
                <a:solidFill>
                  <a:srgbClr val="C00000"/>
                </a:solidFill>
              </a:rPr>
              <a:t>Fast-track </a:t>
            </a:r>
            <a:r>
              <a:rPr lang="en-ZA" kern="0" dirty="0">
                <a:solidFill>
                  <a:srgbClr val="C00000"/>
                </a:solidFill>
              </a:rPr>
              <a:t>compilation of water accounts</a:t>
            </a:r>
          </a:p>
        </p:txBody>
      </p:sp>
    </p:spTree>
    <p:extLst>
      <p:ext uri="{BB962C8B-B14F-4D97-AF65-F5344CB8AC3E}">
        <p14:creationId xmlns:p14="http://schemas.microsoft.com/office/powerpoint/2010/main" val="28677608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ater</a:t>
            </a:r>
            <a:r>
              <a:rPr lang="de-DE" dirty="0"/>
              <a:t> </a:t>
            </a:r>
            <a:r>
              <a:rPr lang="de-DE" dirty="0" smtClean="0"/>
              <a:t>Accounts – Projected demand vs. resources</a:t>
            </a:r>
            <a:endParaRPr lang="de-DE" dirty="0"/>
          </a:p>
        </p:txBody>
      </p:sp>
      <p:pic>
        <p:nvPicPr>
          <p:cNvPr id="6" name="Inhaltsplatzhalter 5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999" y="1815903"/>
            <a:ext cx="3912139" cy="3872422"/>
          </a:xfrm>
        </p:spPr>
      </p:pic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D4D4D"/>
                </a:solidFill>
                <a:latin typeface="Gill Sans MT"/>
                <a:cs typeface="Helvetica"/>
              </a:rPr>
              <a:t>SEEA Training  |  11-13-2017  | Nairobi, Kenya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0A52DF5-62F2-49E4-81A2-B91D26093C02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565078" y="5845996"/>
            <a:ext cx="8147121" cy="42780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300"/>
              </a:spcAft>
            </a:pPr>
            <a:r>
              <a:rPr lang="de-DE" sz="1800" dirty="0" smtClean="0">
                <a:solidFill>
                  <a:schemeClr val="bg1"/>
                </a:solidFill>
                <a:latin typeface="Gill Sans MT"/>
              </a:rPr>
              <a:t>Starting in 2015, demand will exceed installed water capacity.</a:t>
            </a:r>
          </a:p>
        </p:txBody>
      </p:sp>
      <p:cxnSp>
        <p:nvCxnSpPr>
          <p:cNvPr id="9" name="Gerade Verbindung 8"/>
          <p:cNvCxnSpPr/>
          <p:nvPr/>
        </p:nvCxnSpPr>
        <p:spPr>
          <a:xfrm flipV="1">
            <a:off x="3223574" y="2676875"/>
            <a:ext cx="680720" cy="508000"/>
          </a:xfrm>
          <a:prstGeom prst="line">
            <a:avLst/>
          </a:prstGeom>
          <a:ln w="19050">
            <a:solidFill>
              <a:srgbClr val="009242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50142" y="1646327"/>
            <a:ext cx="2847079" cy="4041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05587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 smtClean="0"/>
              <a:t>Water Accounts – Water productivity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0A52DF5-62F2-49E4-81A2-B91D26093C02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431800" y="5680038"/>
            <a:ext cx="8280400" cy="59376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300"/>
              </a:spcAft>
            </a:pPr>
            <a:r>
              <a:rPr lang="de-DE" sz="1800" dirty="0" smtClean="0">
                <a:solidFill>
                  <a:schemeClr val="bg1"/>
                </a:solidFill>
                <a:latin typeface="Gill Sans MT"/>
              </a:rPr>
              <a:t>Irrigation agriculture is the least economically productive use of water.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8396" y="1898278"/>
            <a:ext cx="5853560" cy="3502441"/>
          </a:xfrm>
          <a:prstGeom prst="rect">
            <a:avLst/>
          </a:prstGeom>
        </p:spPr>
      </p:pic>
      <p:cxnSp>
        <p:nvCxnSpPr>
          <p:cNvPr id="11" name="Gerade Verbindung mit Pfeil 10"/>
          <p:cNvCxnSpPr/>
          <p:nvPr/>
        </p:nvCxnSpPr>
        <p:spPr>
          <a:xfrm flipH="1" flipV="1">
            <a:off x="3712841" y="2242527"/>
            <a:ext cx="1403690" cy="120529"/>
          </a:xfrm>
          <a:prstGeom prst="straightConnector1">
            <a:avLst/>
          </a:prstGeom>
          <a:ln w="19050"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2862776" y="6581001"/>
            <a:ext cx="3418449" cy="246221"/>
          </a:xfrm>
        </p:spPr>
        <p:txBody>
          <a:bodyPr/>
          <a:lstStyle/>
          <a:p>
            <a:r>
              <a:rPr lang="en-US" dirty="0" smtClean="0">
                <a:solidFill>
                  <a:srgbClr val="4D4D4D"/>
                </a:solidFill>
                <a:latin typeface="Gill Sans MT"/>
                <a:cs typeface="Helvetica"/>
              </a:rPr>
              <a:t>SEEA Training  |  11-13-2017  | Nairobi, Kenya</a:t>
            </a:r>
          </a:p>
        </p:txBody>
      </p:sp>
    </p:spTree>
    <p:extLst>
      <p:ext uri="{BB962C8B-B14F-4D97-AF65-F5344CB8AC3E}">
        <p14:creationId xmlns:p14="http://schemas.microsoft.com/office/powerpoint/2010/main" val="176693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ZA" dirty="0" smtClean="0"/>
              <a:t>Challenges</a:t>
            </a:r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8FE8AF5D-14E7-4A90-98FB-F1C241D9EC78}" type="datetime1">
              <a:rPr lang="en-GB" noProof="0" smtClean="0"/>
              <a:pPr/>
              <a:t>08/12/2017</a:t>
            </a:fld>
            <a:endParaRPr lang="de-DE" noProof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684000" y="2042483"/>
            <a:ext cx="7776000" cy="369049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smtClean="0">
                <a:solidFill>
                  <a:schemeClr val="tx1"/>
                </a:solidFill>
              </a:rPr>
              <a:t>Decentralisation approach failed due to limited capacity to establish and update NCAs and </a:t>
            </a:r>
            <a:endParaRPr lang="en-ZA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smtClean="0">
                <a:solidFill>
                  <a:schemeClr val="tx1"/>
                </a:solidFill>
              </a:rPr>
              <a:t>NCAs </a:t>
            </a:r>
            <a:r>
              <a:rPr lang="en-ZA" dirty="0" smtClean="0">
                <a:solidFill>
                  <a:schemeClr val="tx1"/>
                </a:solidFill>
              </a:rPr>
              <a:t>were not mainstreamed into the work  plans of natural resource based Minist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smtClean="0">
                <a:solidFill>
                  <a:schemeClr val="tx1"/>
                </a:solidFill>
              </a:rPr>
              <a:t>Lack of institutional cooperation due to political agend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smtClean="0">
                <a:solidFill>
                  <a:schemeClr val="tx1"/>
                </a:solidFill>
              </a:rPr>
              <a:t>Data acquisition challen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smtClean="0">
                <a:solidFill>
                  <a:schemeClr val="tx1"/>
                </a:solidFill>
              </a:rPr>
              <a:t>Lack of awareness about the usefulness of environmental statist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smtClean="0">
                <a:solidFill>
                  <a:schemeClr val="tx1"/>
                </a:solidFill>
              </a:rPr>
              <a:t>No specific demand for NCA by policy makers and resource manager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solidFill>
                  <a:schemeClr val="tx1"/>
                </a:solidFill>
              </a:rPr>
              <a:t>B</a:t>
            </a:r>
            <a:r>
              <a:rPr lang="en-ZA" dirty="0" smtClean="0">
                <a:solidFill>
                  <a:schemeClr val="tx1"/>
                </a:solidFill>
              </a:rPr>
              <a:t>asic statistics not produced on a regular </a:t>
            </a:r>
            <a:r>
              <a:rPr lang="en-ZA" dirty="0" smtClean="0">
                <a:solidFill>
                  <a:schemeClr val="tx1"/>
                </a:solidFill>
              </a:rPr>
              <a:t>basis</a:t>
            </a:r>
            <a:endParaRPr lang="en-ZA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dirty="0"/>
          </a:p>
        </p:txBody>
      </p:sp>
      <p:sp>
        <p:nvSpPr>
          <p:cNvPr id="6" name="Fußzeilenplatzhalter 3"/>
          <p:cNvSpPr txBox="1">
            <a:spLocks/>
          </p:cNvSpPr>
          <p:nvPr/>
        </p:nvSpPr>
        <p:spPr>
          <a:xfrm>
            <a:off x="3066547" y="6611779"/>
            <a:ext cx="3418449" cy="246221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0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200" b="1" kern="1200">
                <a:solidFill>
                  <a:srgbClr val="999999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4D4D4D"/>
                </a:solidFill>
                <a:latin typeface="Gill Sans MT"/>
                <a:cs typeface="Helvetica"/>
              </a:rPr>
              <a:t>SEEA Training  |  11-13-2017  | Nairobi, Kenya</a:t>
            </a:r>
          </a:p>
        </p:txBody>
      </p:sp>
    </p:spTree>
    <p:extLst>
      <p:ext uri="{BB962C8B-B14F-4D97-AF65-F5344CB8AC3E}">
        <p14:creationId xmlns:p14="http://schemas.microsoft.com/office/powerpoint/2010/main" val="2272097545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ZA" dirty="0" smtClean="0"/>
              <a:t>Institutional arrangements</a:t>
            </a:r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8FE8AF5D-14E7-4A90-98FB-F1C241D9EC78}" type="datetime1">
              <a:rPr lang="en-GB" noProof="0" smtClean="0"/>
              <a:pPr/>
              <a:t>08/12/2017</a:t>
            </a:fld>
            <a:endParaRPr lang="de-DE" noProof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684000" y="2289063"/>
            <a:ext cx="7776000" cy="298157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smtClean="0">
                <a:solidFill>
                  <a:schemeClr val="tx1"/>
                </a:solidFill>
              </a:rPr>
              <a:t>Signing of a Memorandum of Understanding between the Ministry of Environment and Namibia Statistics Ag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smtClean="0">
                <a:solidFill>
                  <a:schemeClr val="tx1"/>
                </a:solidFill>
              </a:rPr>
              <a:t>Established a Technical Working Group on Natural Capital Accounting to strengthen institutional coope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solidFill>
                  <a:schemeClr val="tx1"/>
                </a:solidFill>
              </a:rPr>
              <a:t>Integration of FDES and SEEA into NSA organisational struc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dirty="0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2862776" y="6581001"/>
            <a:ext cx="3418449" cy="246221"/>
          </a:xfrm>
        </p:spPr>
        <p:txBody>
          <a:bodyPr/>
          <a:lstStyle/>
          <a:p>
            <a:r>
              <a:rPr lang="en-US" dirty="0" smtClean="0">
                <a:solidFill>
                  <a:srgbClr val="4D4D4D"/>
                </a:solidFill>
                <a:latin typeface="Gill Sans MT"/>
                <a:cs typeface="Helvetica"/>
              </a:rPr>
              <a:t>SEEA Training  |  11-13-2017  | Nairobi, Kenya</a:t>
            </a:r>
          </a:p>
        </p:txBody>
      </p:sp>
    </p:spTree>
    <p:extLst>
      <p:ext uri="{BB962C8B-B14F-4D97-AF65-F5344CB8AC3E}">
        <p14:creationId xmlns:p14="http://schemas.microsoft.com/office/powerpoint/2010/main" val="2016057170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sz="quarter" idx="1"/>
          </p:nvPr>
        </p:nvSpPr>
        <p:spPr>
          <a:xfrm>
            <a:off x="1060495" y="1718790"/>
            <a:ext cx="7298383" cy="3226829"/>
          </a:xfrm>
        </p:spPr>
        <p:txBody>
          <a:bodyPr/>
          <a:lstStyle/>
          <a:p>
            <a:endParaRPr lang="en-GB" b="1" dirty="0" smtClean="0"/>
          </a:p>
          <a:p>
            <a:r>
              <a:rPr lang="en-GB" b="1" dirty="0" smtClean="0"/>
              <a:t>Full Feasibility Study on NCA in Namibia: Fast Track Water Accounts Report is available </a:t>
            </a:r>
            <a:r>
              <a:rPr lang="en-GB" b="1" dirty="0" smtClean="0"/>
              <a:t>here</a:t>
            </a:r>
            <a:r>
              <a:rPr lang="en-GB" b="1" dirty="0" smtClean="0"/>
              <a:t> </a:t>
            </a:r>
            <a:r>
              <a:rPr lang="en-GB" b="1" dirty="0"/>
              <a:t>(</a:t>
            </a:r>
            <a:r>
              <a:rPr lang="en-GB" b="1" dirty="0">
                <a:hlinkClick r:id="rId3"/>
              </a:rPr>
              <a:t>https://resmob.org/reports</a:t>
            </a:r>
            <a:r>
              <a:rPr lang="en-GB" b="1" dirty="0" smtClean="0">
                <a:hlinkClick r:id="rId3"/>
              </a:rPr>
              <a:t>/</a:t>
            </a:r>
            <a:r>
              <a:rPr lang="en-GB" b="1" dirty="0" smtClean="0"/>
              <a:t> )</a:t>
            </a:r>
            <a:endParaRPr lang="en-GB" b="1" dirty="0" smtClean="0"/>
          </a:p>
          <a:p>
            <a:endParaRPr lang="en-GB" b="1" dirty="0" smtClean="0"/>
          </a:p>
          <a:p>
            <a:endParaRPr lang="en-GB" b="1" dirty="0"/>
          </a:p>
          <a:p>
            <a:r>
              <a:rPr lang="en-GB" b="1" u="sng" dirty="0" smtClean="0"/>
              <a:t>Contact: </a:t>
            </a:r>
          </a:p>
          <a:p>
            <a:endParaRPr lang="en-GB" b="1" u="sng" dirty="0" smtClean="0"/>
          </a:p>
          <a:p>
            <a:r>
              <a:rPr lang="en-GB" b="1" dirty="0" smtClean="0"/>
              <a:t>Email</a:t>
            </a:r>
            <a:r>
              <a:rPr lang="en-GB" b="1" dirty="0" smtClean="0"/>
              <a:t>: info@resmob.org</a:t>
            </a:r>
          </a:p>
          <a:p>
            <a:r>
              <a:rPr lang="en-GB" b="1" dirty="0"/>
              <a:t>Website: </a:t>
            </a:r>
            <a:r>
              <a:rPr lang="en-GB" b="1" dirty="0">
                <a:hlinkClick r:id="rId4"/>
              </a:rPr>
              <a:t>https://</a:t>
            </a:r>
            <a:r>
              <a:rPr lang="en-GB" b="1" dirty="0" smtClean="0">
                <a:hlinkClick r:id="rId4"/>
              </a:rPr>
              <a:t>resmob.org/</a:t>
            </a:r>
            <a:endParaRPr lang="en-GB" b="1" dirty="0" smtClean="0"/>
          </a:p>
          <a:p>
            <a:endParaRPr lang="en-GB" b="1" dirty="0" smtClean="0">
              <a:solidFill>
                <a:srgbClr val="009242"/>
              </a:solidFill>
            </a:endParaRPr>
          </a:p>
          <a:p>
            <a:endParaRPr lang="en-GB" dirty="0"/>
          </a:p>
        </p:txBody>
      </p:sp>
      <p:sp>
        <p:nvSpPr>
          <p:cNvPr id="3" name="Titel 2"/>
          <p:cNvSpPr>
            <a:spLocks noGrp="1"/>
          </p:cNvSpPr>
          <p:nvPr>
            <p:ph type="ctrTitle" sz="quarter"/>
          </p:nvPr>
        </p:nvSpPr>
        <p:spPr>
          <a:xfrm>
            <a:off x="1060495" y="483327"/>
            <a:ext cx="7034400" cy="456866"/>
          </a:xfrm>
        </p:spPr>
        <p:txBody>
          <a:bodyPr/>
          <a:lstStyle/>
          <a:p>
            <a:pPr marL="711200" indent="-711200"/>
            <a:r>
              <a:rPr lang="de-DE" dirty="0" smtClean="0">
                <a:solidFill>
                  <a:srgbClr val="C80F0F"/>
                </a:solidFill>
              </a:rPr>
              <a:t>Thank you for your attention!</a:t>
            </a:r>
            <a:r>
              <a:rPr lang="de-DE" dirty="0" smtClean="0">
                <a:solidFill>
                  <a:srgbClr val="009242"/>
                </a:solidFill>
              </a:rPr>
              <a:t/>
            </a:r>
            <a:br>
              <a:rPr lang="de-DE" dirty="0" smtClean="0">
                <a:solidFill>
                  <a:srgbClr val="009242"/>
                </a:solidFill>
              </a:rPr>
            </a:br>
            <a:endParaRPr lang="de-DE" dirty="0">
              <a:solidFill>
                <a:srgbClr val="009242"/>
              </a:solidFill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0" y="6589485"/>
            <a:ext cx="9144000" cy="3265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200" b="1" i="0" u="none" strike="noStrike" cap="none" normalizeH="0" baseline="0" smtClean="0">
              <a:ln>
                <a:noFill/>
              </a:ln>
              <a:solidFill>
                <a:srgbClr val="999999"/>
              </a:solidFill>
              <a:effectLst/>
              <a:latin typeface="Arial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953533" y="5404464"/>
            <a:ext cx="2142699" cy="7432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145633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heme/theme1.xml><?xml version="1.0" encoding="utf-8"?>
<a:theme xmlns:a="http://schemas.openxmlformats.org/drawingml/2006/main" name="giz-powerpoint-leerfolie-en">
  <a:themeElements>
    <a:clrScheme name="Essenz">
      <a:dk1>
        <a:srgbClr val="000000"/>
      </a:dk1>
      <a:lt1>
        <a:srgbClr val="FFFFFF"/>
      </a:lt1>
      <a:dk2>
        <a:srgbClr val="D1282E"/>
      </a:dk2>
      <a:lt2>
        <a:srgbClr val="C8C8B1"/>
      </a:lt2>
      <a:accent1>
        <a:srgbClr val="7A7A7A"/>
      </a:accent1>
      <a:accent2>
        <a:srgbClr val="F5C201"/>
      </a:accent2>
      <a:accent3>
        <a:srgbClr val="526DB0"/>
      </a:accent3>
      <a:accent4>
        <a:srgbClr val="989AAC"/>
      </a:accent4>
      <a:accent5>
        <a:srgbClr val="DC5924"/>
      </a:accent5>
      <a:accent6>
        <a:srgbClr val="B4B392"/>
      </a:accent6>
      <a:hlink>
        <a:srgbClr val="CC9900"/>
      </a:hlink>
      <a:folHlink>
        <a:srgbClr val="969696"/>
      </a:folHlink>
    </a:clrScheme>
    <a:fontScheme name="GIZ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GTZ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200" b="1" i="0" u="none" strike="noStrike" cap="none" normalizeH="0" baseline="0" smtClean="0">
            <a:ln>
              <a:noFill/>
            </a:ln>
            <a:solidFill>
              <a:srgbClr val="999999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200" b="1" i="0" u="none" strike="noStrike" cap="none" normalizeH="0" baseline="0" smtClean="0">
            <a:ln>
              <a:noFill/>
            </a:ln>
            <a:solidFill>
              <a:srgbClr val="999999"/>
            </a:solidFill>
            <a:effectLst/>
            <a:latin typeface="Arial" charset="0"/>
          </a:defRPr>
        </a:defPPr>
      </a:lstStyle>
    </a:ln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iz-powerpoint-leerfolie-en</Template>
  <TotalTime>353</TotalTime>
  <Words>640</Words>
  <Application>Microsoft Office PowerPoint</Application>
  <PresentationFormat>On-screen Show (4:3)</PresentationFormat>
  <Paragraphs>84</Paragraphs>
  <Slides>8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6" baseType="lpstr">
      <vt:lpstr>Arial Unicode MS</vt:lpstr>
      <vt:lpstr>Arial</vt:lpstr>
      <vt:lpstr>Arial Narrow</vt:lpstr>
      <vt:lpstr>Calibri</vt:lpstr>
      <vt:lpstr>Gill Sans MT</vt:lpstr>
      <vt:lpstr>Helvetica</vt:lpstr>
      <vt:lpstr>Wingdings</vt:lpstr>
      <vt:lpstr>giz-powerpoint-leerfolie-en</vt:lpstr>
      <vt:lpstr>The Resource Mobilisation Project (ResMob)  Resource mobilisation for effective implementation of the updated biodiversity strategy in Namibia</vt:lpstr>
      <vt:lpstr>Background on Natural Capital Accounting in Namibia </vt:lpstr>
      <vt:lpstr>Methodology: SEEA-Water</vt:lpstr>
      <vt:lpstr>Water Accounts – Projected demand vs. resources</vt:lpstr>
      <vt:lpstr>Water Accounts – Water productivity</vt:lpstr>
      <vt:lpstr>Challenges</vt:lpstr>
      <vt:lpstr>Institutional arrangements</vt:lpstr>
      <vt:lpstr>Thank you for your attention! </vt:lpstr>
    </vt:vector>
  </TitlesOfParts>
  <Company>GIZ GmbH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title</dc:title>
  <dc:creator>Martin Nowack</dc:creator>
  <cp:keywords>GIZ-Leerfolie</cp:keywords>
  <cp:lastModifiedBy>user</cp:lastModifiedBy>
  <cp:revision>212</cp:revision>
  <cp:lastPrinted>2015-03-24T14:02:26Z</cp:lastPrinted>
  <dcterms:created xsi:type="dcterms:W3CDTF">2014-07-10T14:50:48Z</dcterms:created>
  <dcterms:modified xsi:type="dcterms:W3CDTF">2017-12-08T07:55:14Z</dcterms:modified>
</cp:coreProperties>
</file>